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0.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2.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3.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5"/>
    <p:sldMasterId id="2147483692" r:id="rId6"/>
    <p:sldMasterId id="2147483722" r:id="rId7"/>
    <p:sldMasterId id="2147483734" r:id="rId8"/>
    <p:sldMasterId id="2147483760" r:id="rId9"/>
    <p:sldMasterId id="2147483777" r:id="rId10"/>
    <p:sldMasterId id="2147483795" r:id="rId11"/>
    <p:sldMasterId id="2147483816" r:id="rId12"/>
    <p:sldMasterId id="2147483843" r:id="rId13"/>
    <p:sldMasterId id="2147483853" r:id="rId14"/>
    <p:sldMasterId id="2147483875" r:id="rId15"/>
    <p:sldMasterId id="2147483898" r:id="rId16"/>
    <p:sldMasterId id="2147483913" r:id="rId17"/>
    <p:sldMasterId id="2147483933" r:id="rId18"/>
  </p:sldMasterIdLst>
  <p:notesMasterIdLst>
    <p:notesMasterId r:id="rId34"/>
  </p:notesMasterIdLst>
  <p:sldIdLst>
    <p:sldId id="290" r:id="rId19"/>
    <p:sldId id="291" r:id="rId20"/>
    <p:sldId id="294" r:id="rId21"/>
    <p:sldId id="295" r:id="rId22"/>
    <p:sldId id="296" r:id="rId23"/>
    <p:sldId id="297" r:id="rId24"/>
    <p:sldId id="298" r:id="rId25"/>
    <p:sldId id="299" r:id="rId26"/>
    <p:sldId id="300" r:id="rId27"/>
    <p:sldId id="303" r:id="rId28"/>
    <p:sldId id="304" r:id="rId29"/>
    <p:sldId id="305" r:id="rId30"/>
    <p:sldId id="301" r:id="rId31"/>
    <p:sldId id="302" r:id="rId32"/>
    <p:sldId id="293"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2840" autoAdjust="0"/>
  </p:normalViewPr>
  <p:slideViewPr>
    <p:cSldViewPr snapToGrid="0">
      <p:cViewPr varScale="1">
        <p:scale>
          <a:sx n="86" d="100"/>
          <a:sy n="86" d="100"/>
        </p:scale>
        <p:origin x="185" y="6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8.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2.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mail Gillani" userId="6249fe15-c6e5-4382-8452-bcdbac0a2ff8" providerId="ADAL" clId="{A8838E9D-FA7A-4A03-8E18-DD645234F766}"/>
    <pc:docChg chg="delSld modSld sldOrd">
      <pc:chgData name="Shimail Gillani" userId="6249fe15-c6e5-4382-8452-bcdbac0a2ff8" providerId="ADAL" clId="{A8838E9D-FA7A-4A03-8E18-DD645234F766}" dt="2018-02-06T03:13:11.031" v="56" actId="20577"/>
      <pc:docMkLst>
        <pc:docMk/>
      </pc:docMkLst>
      <pc:sldChg chg="del">
        <pc:chgData name="Shimail Gillani" userId="6249fe15-c6e5-4382-8452-bcdbac0a2ff8" providerId="ADAL" clId="{A8838E9D-FA7A-4A03-8E18-DD645234F766}" dt="2018-02-06T03:02:25.038" v="0" actId="2696"/>
        <pc:sldMkLst>
          <pc:docMk/>
          <pc:sldMk cId="3788647698" sldId="259"/>
        </pc:sldMkLst>
      </pc:sldChg>
      <pc:sldChg chg="modSp">
        <pc:chgData name="Shimail Gillani" userId="6249fe15-c6e5-4382-8452-bcdbac0a2ff8" providerId="ADAL" clId="{A8838E9D-FA7A-4A03-8E18-DD645234F766}" dt="2018-02-06T03:13:11.031" v="56" actId="20577"/>
        <pc:sldMkLst>
          <pc:docMk/>
          <pc:sldMk cId="705509317" sldId="260"/>
        </pc:sldMkLst>
        <pc:spChg chg="mod">
          <ac:chgData name="Shimail Gillani" userId="6249fe15-c6e5-4382-8452-bcdbac0a2ff8" providerId="ADAL" clId="{A8838E9D-FA7A-4A03-8E18-DD645234F766}" dt="2018-02-06T03:13:11.031" v="56" actId="20577"/>
          <ac:spMkLst>
            <pc:docMk/>
            <pc:sldMk cId="705509317" sldId="260"/>
            <ac:spMk id="2" creationId="{00000000-0000-0000-0000-000000000000}"/>
          </ac:spMkLst>
        </pc:spChg>
      </pc:sldChg>
      <pc:sldChg chg="del">
        <pc:chgData name="Shimail Gillani" userId="6249fe15-c6e5-4382-8452-bcdbac0a2ff8" providerId="ADAL" clId="{A8838E9D-FA7A-4A03-8E18-DD645234F766}" dt="2018-02-06T03:07:13.597" v="39" actId="2696"/>
        <pc:sldMkLst>
          <pc:docMk/>
          <pc:sldMk cId="2243261235" sldId="265"/>
        </pc:sldMkLst>
      </pc:sldChg>
      <pc:sldChg chg="modSp ord">
        <pc:chgData name="Shimail Gillani" userId="6249fe15-c6e5-4382-8452-bcdbac0a2ff8" providerId="ADAL" clId="{A8838E9D-FA7A-4A03-8E18-DD645234F766}" dt="2018-02-06T03:05:40.096" v="38" actId="20577"/>
        <pc:sldMkLst>
          <pc:docMk/>
          <pc:sldMk cId="2768159458" sldId="266"/>
        </pc:sldMkLst>
        <pc:spChg chg="mod">
          <ac:chgData name="Shimail Gillani" userId="6249fe15-c6e5-4382-8452-bcdbac0a2ff8" providerId="ADAL" clId="{A8838E9D-FA7A-4A03-8E18-DD645234F766}" dt="2018-02-06T03:05:40.096" v="38" actId="20577"/>
          <ac:spMkLst>
            <pc:docMk/>
            <pc:sldMk cId="2768159458" sldId="266"/>
            <ac:spMk id="26" creationId="{00000000-0000-0000-0000-000000000000}"/>
          </ac:spMkLst>
        </pc:spChg>
      </pc:sldChg>
      <pc:sldChg chg="del">
        <pc:chgData name="Shimail Gillani" userId="6249fe15-c6e5-4382-8452-bcdbac0a2ff8" providerId="ADAL" clId="{A8838E9D-FA7A-4A03-8E18-DD645234F766}" dt="2018-02-06T03:07:18.058" v="40" actId="2696"/>
        <pc:sldMkLst>
          <pc:docMk/>
          <pc:sldMk cId="37991338" sldId="268"/>
        </pc:sldMkLst>
      </pc:sldChg>
      <pc:sldChg chg="del">
        <pc:chgData name="Shimail Gillani" userId="6249fe15-c6e5-4382-8452-bcdbac0a2ff8" providerId="ADAL" clId="{A8838E9D-FA7A-4A03-8E18-DD645234F766}" dt="2018-02-06T03:07:21.006" v="42" actId="2696"/>
        <pc:sldMkLst>
          <pc:docMk/>
          <pc:sldMk cId="1897784522" sldId="269"/>
        </pc:sldMkLst>
      </pc:sldChg>
      <pc:sldChg chg="del">
        <pc:chgData name="Shimail Gillani" userId="6249fe15-c6e5-4382-8452-bcdbac0a2ff8" providerId="ADAL" clId="{A8838E9D-FA7A-4A03-8E18-DD645234F766}" dt="2018-02-06T03:04:38.581" v="20" actId="2696"/>
        <pc:sldMkLst>
          <pc:docMk/>
          <pc:sldMk cId="1418317315" sldId="274"/>
        </pc:sldMkLst>
      </pc:sldChg>
      <pc:sldChg chg="del modTransition">
        <pc:chgData name="Shimail Gillani" userId="6249fe15-c6e5-4382-8452-bcdbac0a2ff8" providerId="ADAL" clId="{A8838E9D-FA7A-4A03-8E18-DD645234F766}" dt="2018-02-06T03:09:28.108" v="44" actId="2696"/>
        <pc:sldMkLst>
          <pc:docMk/>
          <pc:sldMk cId="1492821689" sldId="281"/>
        </pc:sldMkLst>
      </pc:sldChg>
      <pc:sldChg chg="modTransition">
        <pc:chgData name="Shimail Gillani" userId="6249fe15-c6e5-4382-8452-bcdbac0a2ff8" providerId="ADAL" clId="{A8838E9D-FA7A-4A03-8E18-DD645234F766}" dt="2018-02-06T03:07:39.399" v="43" actId="20577"/>
        <pc:sldMkLst>
          <pc:docMk/>
          <pc:sldMk cId="3657412772" sldId="282"/>
        </pc:sldMkLst>
      </pc:sldChg>
      <pc:sldChg chg="modTransition">
        <pc:chgData name="Shimail Gillani" userId="6249fe15-c6e5-4382-8452-bcdbac0a2ff8" providerId="ADAL" clId="{A8838E9D-FA7A-4A03-8E18-DD645234F766}" dt="2018-02-06T03:07:39.399" v="43" actId="20577"/>
        <pc:sldMkLst>
          <pc:docMk/>
          <pc:sldMk cId="2725061527" sldId="283"/>
        </pc:sldMkLst>
      </pc:sldChg>
      <pc:sldChg chg="modTransition">
        <pc:chgData name="Shimail Gillani" userId="6249fe15-c6e5-4382-8452-bcdbac0a2ff8" providerId="ADAL" clId="{A8838E9D-FA7A-4A03-8E18-DD645234F766}" dt="2018-02-06T03:07:39.399" v="43" actId="20577"/>
        <pc:sldMkLst>
          <pc:docMk/>
          <pc:sldMk cId="1837224261" sldId="284"/>
        </pc:sldMkLst>
      </pc:sldChg>
      <pc:sldChg chg="modTransition">
        <pc:chgData name="Shimail Gillani" userId="6249fe15-c6e5-4382-8452-bcdbac0a2ff8" providerId="ADAL" clId="{A8838E9D-FA7A-4A03-8E18-DD645234F766}" dt="2018-02-06T03:07:39.399" v="43" actId="20577"/>
        <pc:sldMkLst>
          <pc:docMk/>
          <pc:sldMk cId="3857752999" sldId="285"/>
        </pc:sldMkLst>
      </pc:sldChg>
      <pc:sldChg chg="modTransition">
        <pc:chgData name="Shimail Gillani" userId="6249fe15-c6e5-4382-8452-bcdbac0a2ff8" providerId="ADAL" clId="{A8838E9D-FA7A-4A03-8E18-DD645234F766}" dt="2018-02-06T03:07:39.399" v="43" actId="20577"/>
        <pc:sldMkLst>
          <pc:docMk/>
          <pc:sldMk cId="2807483491" sldId="286"/>
        </pc:sldMkLst>
      </pc:sldChg>
      <pc:sldChg chg="modTransition">
        <pc:chgData name="Shimail Gillani" userId="6249fe15-c6e5-4382-8452-bcdbac0a2ff8" providerId="ADAL" clId="{A8838E9D-FA7A-4A03-8E18-DD645234F766}" dt="2018-02-06T03:07:39.399" v="43" actId="20577"/>
        <pc:sldMkLst>
          <pc:docMk/>
          <pc:sldMk cId="1475020708" sldId="287"/>
        </pc:sldMkLst>
      </pc:sldChg>
      <pc:sldChg chg="modTransition">
        <pc:chgData name="Shimail Gillani" userId="6249fe15-c6e5-4382-8452-bcdbac0a2ff8" providerId="ADAL" clId="{A8838E9D-FA7A-4A03-8E18-DD645234F766}" dt="2018-02-06T03:07:39.399" v="43" actId="20577"/>
        <pc:sldMkLst>
          <pc:docMk/>
          <pc:sldMk cId="201644659" sldId="288"/>
        </pc:sldMkLst>
      </pc:sldChg>
      <pc:sldChg chg="modTransition">
        <pc:chgData name="Shimail Gillani" userId="6249fe15-c6e5-4382-8452-bcdbac0a2ff8" providerId="ADAL" clId="{A8838E9D-FA7A-4A03-8E18-DD645234F766}" dt="2018-02-06T03:07:39.399" v="43" actId="20577"/>
        <pc:sldMkLst>
          <pc:docMk/>
          <pc:sldMk cId="3232699719" sldId="289"/>
        </pc:sldMkLst>
      </pc:sldChg>
      <pc:sldChg chg="modSp">
        <pc:chgData name="Shimail Gillani" userId="6249fe15-c6e5-4382-8452-bcdbac0a2ff8" providerId="ADAL" clId="{A8838E9D-FA7A-4A03-8E18-DD645234F766}" dt="2018-02-06T03:03:38.169" v="19" actId="20577"/>
        <pc:sldMkLst>
          <pc:docMk/>
          <pc:sldMk cId="523269627" sldId="290"/>
        </pc:sldMkLst>
        <pc:spChg chg="mod">
          <ac:chgData name="Shimail Gillani" userId="6249fe15-c6e5-4382-8452-bcdbac0a2ff8" providerId="ADAL" clId="{A8838E9D-FA7A-4A03-8E18-DD645234F766}" dt="2018-02-06T03:03:38.169" v="19" actId="20577"/>
          <ac:spMkLst>
            <pc:docMk/>
            <pc:sldMk cId="523269627" sldId="290"/>
            <ac:spMk id="5" creationId="{00000000-0000-0000-0000-000000000000}"/>
          </ac:spMkLst>
        </pc:spChg>
      </pc:sldChg>
      <pc:sldMasterChg chg="delSldLayout">
        <pc:chgData name="Shimail Gillani" userId="6249fe15-c6e5-4382-8452-bcdbac0a2ff8" providerId="ADAL" clId="{A8838E9D-FA7A-4A03-8E18-DD645234F766}" dt="2018-02-06T03:07:18.058" v="41" actId="2696"/>
        <pc:sldMasterMkLst>
          <pc:docMk/>
          <pc:sldMasterMk cId="101650861" sldId="2147483734"/>
        </pc:sldMasterMkLst>
        <pc:sldLayoutChg chg="del">
          <pc:chgData name="Shimail Gillani" userId="6249fe15-c6e5-4382-8452-bcdbac0a2ff8" providerId="ADAL" clId="{A8838E9D-FA7A-4A03-8E18-DD645234F766}" dt="2018-02-06T03:07:18.058" v="41" actId="2696"/>
          <pc:sldLayoutMkLst>
            <pc:docMk/>
            <pc:sldMasterMk cId="101650861" sldId="2147483734"/>
            <pc:sldLayoutMk cId="2258010109" sldId="2147483758"/>
          </pc:sldLayoutMkLst>
        </pc:sldLayoutChg>
      </pc:sldMasterChg>
    </pc:docChg>
  </pc:docChgLst>
  <pc:docChgLst>
    <pc:chgData name="Shimail Gillani" userId="6249fe15-c6e5-4382-8452-bcdbac0a2ff8" providerId="ADAL" clId="{7C816FC6-A777-4C74-8BB8-DE90306E4B55}"/>
    <pc:docChg chg="addSld delSld modSld delMainMaster">
      <pc:chgData name="Shimail Gillani" userId="6249fe15-c6e5-4382-8452-bcdbac0a2ff8" providerId="ADAL" clId="{7C816FC6-A777-4C74-8BB8-DE90306E4B55}" dt="2018-02-06T04:28:18.039" v="49"/>
      <pc:docMkLst>
        <pc:docMk/>
      </pc:docMkLst>
      <pc:sldChg chg="modSp">
        <pc:chgData name="Shimail Gillani" userId="6249fe15-c6e5-4382-8452-bcdbac0a2ff8" providerId="ADAL" clId="{7C816FC6-A777-4C74-8BB8-DE90306E4B55}" dt="2018-02-06T04:22:02.047" v="46" actId="20577"/>
        <pc:sldMkLst>
          <pc:docMk/>
          <pc:sldMk cId="523269627" sldId="290"/>
        </pc:sldMkLst>
        <pc:spChg chg="mod">
          <ac:chgData name="Shimail Gillani" userId="6249fe15-c6e5-4382-8452-bcdbac0a2ff8" providerId="ADAL" clId="{7C816FC6-A777-4C74-8BB8-DE90306E4B55}" dt="2018-02-06T04:22:02.047" v="46" actId="20577"/>
          <ac:spMkLst>
            <pc:docMk/>
            <pc:sldMk cId="523269627" sldId="290"/>
            <ac:spMk id="5" creationId="{00000000-0000-0000-0000-000000000000}"/>
          </ac:spMkLst>
        </pc:spChg>
      </pc:sldChg>
      <pc:sldChg chg="add del">
        <pc:chgData name="Shimail Gillani" userId="6249fe15-c6e5-4382-8452-bcdbac0a2ff8" providerId="ADAL" clId="{7C816FC6-A777-4C74-8BB8-DE90306E4B55}" dt="2018-02-06T04:27:25.386" v="48"/>
        <pc:sldMkLst>
          <pc:docMk/>
          <pc:sldMk cId="1833894556" sldId="294"/>
        </pc:sldMkLst>
      </pc:sldChg>
      <pc:sldChg chg="del">
        <pc:chgData name="Shimail Gillani" userId="6249fe15-c6e5-4382-8452-bcdbac0a2ff8" providerId="ADAL" clId="{7C816FC6-A777-4C74-8BB8-DE90306E4B55}" dt="2018-02-06T04:28:18.039" v="49"/>
        <pc:sldMkLst>
          <pc:docMk/>
          <pc:sldMk cId="1279642629" sldId="296"/>
        </pc:sldMkLst>
      </pc:sldChg>
      <pc:sldChg chg="del">
        <pc:chgData name="Shimail Gillani" userId="6249fe15-c6e5-4382-8452-bcdbac0a2ff8" providerId="ADAL" clId="{7C816FC6-A777-4C74-8BB8-DE90306E4B55}" dt="2018-02-06T04:21:40.426" v="4" actId="2696"/>
        <pc:sldMkLst>
          <pc:docMk/>
          <pc:sldMk cId="2143760516" sldId="296"/>
        </pc:sldMkLst>
      </pc:sldChg>
      <pc:sldChg chg="del">
        <pc:chgData name="Shimail Gillani" userId="6249fe15-c6e5-4382-8452-bcdbac0a2ff8" providerId="ADAL" clId="{7C816FC6-A777-4C74-8BB8-DE90306E4B55}" dt="2018-02-06T04:28:18.039" v="49"/>
        <pc:sldMkLst>
          <pc:docMk/>
          <pc:sldMk cId="2705145279" sldId="297"/>
        </pc:sldMkLst>
      </pc:sldChg>
      <pc:sldChg chg="del">
        <pc:chgData name="Shimail Gillani" userId="6249fe15-c6e5-4382-8452-bcdbac0a2ff8" providerId="ADAL" clId="{7C816FC6-A777-4C74-8BB8-DE90306E4B55}" dt="2018-02-06T04:21:40.411" v="1" actId="2696"/>
        <pc:sldMkLst>
          <pc:docMk/>
          <pc:sldMk cId="3087468273" sldId="297"/>
        </pc:sldMkLst>
      </pc:sldChg>
      <pc:sldChg chg="del">
        <pc:chgData name="Shimail Gillani" userId="6249fe15-c6e5-4382-8452-bcdbac0a2ff8" providerId="ADAL" clId="{7C816FC6-A777-4C74-8BB8-DE90306E4B55}" dt="2018-02-06T04:21:40.411" v="0" actId="2696"/>
        <pc:sldMkLst>
          <pc:docMk/>
          <pc:sldMk cId="2424934583" sldId="298"/>
        </pc:sldMkLst>
      </pc:sldChg>
      <pc:sldChg chg="del">
        <pc:chgData name="Shimail Gillani" userId="6249fe15-c6e5-4382-8452-bcdbac0a2ff8" providerId="ADAL" clId="{7C816FC6-A777-4C74-8BB8-DE90306E4B55}" dt="2018-02-06T04:28:18.039" v="49"/>
        <pc:sldMkLst>
          <pc:docMk/>
          <pc:sldMk cId="3700637941" sldId="298"/>
        </pc:sldMkLst>
      </pc:sldChg>
      <pc:sldChg chg="del">
        <pc:chgData name="Shimail Gillani" userId="6249fe15-c6e5-4382-8452-bcdbac0a2ff8" providerId="ADAL" clId="{7C816FC6-A777-4C74-8BB8-DE90306E4B55}" dt="2018-02-06T04:21:40.426" v="3" actId="2696"/>
        <pc:sldMkLst>
          <pc:docMk/>
          <pc:sldMk cId="4058011235" sldId="299"/>
        </pc:sldMkLst>
      </pc:sldChg>
      <pc:sldChg chg="del">
        <pc:chgData name="Shimail Gillani" userId="6249fe15-c6e5-4382-8452-bcdbac0a2ff8" providerId="ADAL" clId="{7C816FC6-A777-4C74-8BB8-DE90306E4B55}" dt="2018-02-06T04:21:40.411" v="2" actId="2696"/>
        <pc:sldMkLst>
          <pc:docMk/>
          <pc:sldMk cId="2730602760" sldId="300"/>
        </pc:sldMkLst>
      </pc:sldChg>
      <pc:sldMasterChg chg="del delSldLayout">
        <pc:chgData name="Shimail Gillani" userId="6249fe15-c6e5-4382-8452-bcdbac0a2ff8" providerId="ADAL" clId="{7C816FC6-A777-4C74-8BB8-DE90306E4B55}" dt="2018-02-06T04:21:40.442" v="16" actId="2696"/>
        <pc:sldMasterMkLst>
          <pc:docMk/>
          <pc:sldMasterMk cId="3637923074" sldId="2147483853"/>
        </pc:sldMasterMkLst>
        <pc:sldLayoutChg chg="del">
          <pc:chgData name="Shimail Gillani" userId="6249fe15-c6e5-4382-8452-bcdbac0a2ff8" providerId="ADAL" clId="{7C816FC6-A777-4C74-8BB8-DE90306E4B55}" dt="2018-02-06T04:21:40.426" v="5" actId="2696"/>
          <pc:sldLayoutMkLst>
            <pc:docMk/>
            <pc:sldMasterMk cId="3637923074" sldId="2147483853"/>
            <pc:sldLayoutMk cId="3015521140" sldId="2147483854"/>
          </pc:sldLayoutMkLst>
        </pc:sldLayoutChg>
        <pc:sldLayoutChg chg="del">
          <pc:chgData name="Shimail Gillani" userId="6249fe15-c6e5-4382-8452-bcdbac0a2ff8" providerId="ADAL" clId="{7C816FC6-A777-4C74-8BB8-DE90306E4B55}" dt="2018-02-06T04:21:40.426" v="6" actId="2696"/>
          <pc:sldLayoutMkLst>
            <pc:docMk/>
            <pc:sldMasterMk cId="3637923074" sldId="2147483853"/>
            <pc:sldLayoutMk cId="2471138461" sldId="2147483855"/>
          </pc:sldLayoutMkLst>
        </pc:sldLayoutChg>
        <pc:sldLayoutChg chg="del">
          <pc:chgData name="Shimail Gillani" userId="6249fe15-c6e5-4382-8452-bcdbac0a2ff8" providerId="ADAL" clId="{7C816FC6-A777-4C74-8BB8-DE90306E4B55}" dt="2018-02-06T04:21:40.426" v="7" actId="2696"/>
          <pc:sldLayoutMkLst>
            <pc:docMk/>
            <pc:sldMasterMk cId="3637923074" sldId="2147483853"/>
            <pc:sldLayoutMk cId="118946735" sldId="2147483856"/>
          </pc:sldLayoutMkLst>
        </pc:sldLayoutChg>
        <pc:sldLayoutChg chg="del">
          <pc:chgData name="Shimail Gillani" userId="6249fe15-c6e5-4382-8452-bcdbac0a2ff8" providerId="ADAL" clId="{7C816FC6-A777-4C74-8BB8-DE90306E4B55}" dt="2018-02-06T04:21:40.426" v="8" actId="2696"/>
          <pc:sldLayoutMkLst>
            <pc:docMk/>
            <pc:sldMasterMk cId="3637923074" sldId="2147483853"/>
            <pc:sldLayoutMk cId="2737732570" sldId="2147483857"/>
          </pc:sldLayoutMkLst>
        </pc:sldLayoutChg>
        <pc:sldLayoutChg chg="del">
          <pc:chgData name="Shimail Gillani" userId="6249fe15-c6e5-4382-8452-bcdbac0a2ff8" providerId="ADAL" clId="{7C816FC6-A777-4C74-8BB8-DE90306E4B55}" dt="2018-02-06T04:21:40.426" v="9" actId="2696"/>
          <pc:sldLayoutMkLst>
            <pc:docMk/>
            <pc:sldMasterMk cId="3637923074" sldId="2147483853"/>
            <pc:sldLayoutMk cId="798894416" sldId="2147483858"/>
          </pc:sldLayoutMkLst>
        </pc:sldLayoutChg>
        <pc:sldLayoutChg chg="del">
          <pc:chgData name="Shimail Gillani" userId="6249fe15-c6e5-4382-8452-bcdbac0a2ff8" providerId="ADAL" clId="{7C816FC6-A777-4C74-8BB8-DE90306E4B55}" dt="2018-02-06T04:21:40.426" v="10" actId="2696"/>
          <pc:sldLayoutMkLst>
            <pc:docMk/>
            <pc:sldMasterMk cId="3637923074" sldId="2147483853"/>
            <pc:sldLayoutMk cId="122565473" sldId="2147483859"/>
          </pc:sldLayoutMkLst>
        </pc:sldLayoutChg>
        <pc:sldLayoutChg chg="del">
          <pc:chgData name="Shimail Gillani" userId="6249fe15-c6e5-4382-8452-bcdbac0a2ff8" providerId="ADAL" clId="{7C816FC6-A777-4C74-8BB8-DE90306E4B55}" dt="2018-02-06T04:21:40.426" v="11" actId="2696"/>
          <pc:sldLayoutMkLst>
            <pc:docMk/>
            <pc:sldMasterMk cId="3637923074" sldId="2147483853"/>
            <pc:sldLayoutMk cId="1527240495" sldId="2147483860"/>
          </pc:sldLayoutMkLst>
        </pc:sldLayoutChg>
        <pc:sldLayoutChg chg="del">
          <pc:chgData name="Shimail Gillani" userId="6249fe15-c6e5-4382-8452-bcdbac0a2ff8" providerId="ADAL" clId="{7C816FC6-A777-4C74-8BB8-DE90306E4B55}" dt="2018-02-06T04:21:40.426" v="12" actId="2696"/>
          <pc:sldLayoutMkLst>
            <pc:docMk/>
            <pc:sldMasterMk cId="3637923074" sldId="2147483853"/>
            <pc:sldLayoutMk cId="3313235355" sldId="2147483861"/>
          </pc:sldLayoutMkLst>
        </pc:sldLayoutChg>
        <pc:sldLayoutChg chg="del">
          <pc:chgData name="Shimail Gillani" userId="6249fe15-c6e5-4382-8452-bcdbac0a2ff8" providerId="ADAL" clId="{7C816FC6-A777-4C74-8BB8-DE90306E4B55}" dt="2018-02-06T04:21:40.426" v="13" actId="2696"/>
          <pc:sldLayoutMkLst>
            <pc:docMk/>
            <pc:sldMasterMk cId="3637923074" sldId="2147483853"/>
            <pc:sldLayoutMk cId="2903788396" sldId="2147483862"/>
          </pc:sldLayoutMkLst>
        </pc:sldLayoutChg>
        <pc:sldLayoutChg chg="del">
          <pc:chgData name="Shimail Gillani" userId="6249fe15-c6e5-4382-8452-bcdbac0a2ff8" providerId="ADAL" clId="{7C816FC6-A777-4C74-8BB8-DE90306E4B55}" dt="2018-02-06T04:21:40.426" v="14" actId="2696"/>
          <pc:sldLayoutMkLst>
            <pc:docMk/>
            <pc:sldMasterMk cId="3637923074" sldId="2147483853"/>
            <pc:sldLayoutMk cId="2805177422" sldId="2147483863"/>
          </pc:sldLayoutMkLst>
        </pc:sldLayoutChg>
        <pc:sldLayoutChg chg="del">
          <pc:chgData name="Shimail Gillani" userId="6249fe15-c6e5-4382-8452-bcdbac0a2ff8" providerId="ADAL" clId="{7C816FC6-A777-4C74-8BB8-DE90306E4B55}" dt="2018-02-06T04:21:40.426" v="15" actId="2696"/>
          <pc:sldLayoutMkLst>
            <pc:docMk/>
            <pc:sldMasterMk cId="3637923074" sldId="2147483853"/>
            <pc:sldLayoutMk cId="45940400" sldId="2147483864"/>
          </pc:sldLayoutMkLst>
        </pc:sldLayoutChg>
      </pc:sldMasterChg>
    </pc:docChg>
  </pc:docChgLst>
  <pc:docChgLst>
    <pc:chgData name="Shimail Gillani" userId="6249fe15-c6e5-4382-8452-bcdbac0a2ff8" providerId="ADAL" clId="{90760DBC-CA94-4A58-857B-2E9EE1D0CC5A}"/>
    <pc:docChg chg="undo custSel addSld delSld modSld">
      <pc:chgData name="Shimail Gillani" userId="6249fe15-c6e5-4382-8452-bcdbac0a2ff8" providerId="ADAL" clId="{90760DBC-CA94-4A58-857B-2E9EE1D0CC5A}" dt="2018-02-06T03:31:48.146" v="319" actId="1076"/>
      <pc:docMkLst>
        <pc:docMk/>
      </pc:docMkLst>
      <pc:sldChg chg="addSp delSp modSp add del">
        <pc:chgData name="Shimail Gillani" userId="6249fe15-c6e5-4382-8452-bcdbac0a2ff8" providerId="ADAL" clId="{90760DBC-CA94-4A58-857B-2E9EE1D0CC5A}" dt="2018-02-06T03:29:43.986" v="240" actId="2696"/>
        <pc:sldMkLst>
          <pc:docMk/>
          <pc:sldMk cId="262720886" sldId="257"/>
        </pc:sldMkLst>
        <pc:spChg chg="mod">
          <ac:chgData name="Shimail Gillani" userId="6249fe15-c6e5-4382-8452-bcdbac0a2ff8" providerId="ADAL" clId="{90760DBC-CA94-4A58-857B-2E9EE1D0CC5A}" dt="2018-02-06T03:25:18.748" v="18" actId="20577"/>
          <ac:spMkLst>
            <pc:docMk/>
            <pc:sldMk cId="262720886" sldId="257"/>
            <ac:spMk id="39" creationId="{E5C6C679-AC58-4948-9F02-D10CBC7A4562}"/>
          </ac:spMkLst>
        </pc:spChg>
        <pc:picChg chg="add mod modCrop">
          <ac:chgData name="Shimail Gillani" userId="6249fe15-c6e5-4382-8452-bcdbac0a2ff8" providerId="ADAL" clId="{90760DBC-CA94-4A58-857B-2E9EE1D0CC5A}" dt="2018-02-06T03:24:55.278" v="10" actId="14100"/>
          <ac:picMkLst>
            <pc:docMk/>
            <pc:sldMk cId="262720886" sldId="257"/>
            <ac:picMk id="3" creationId="{1E39AE6F-35AA-4196-969F-B3008369D6CC}"/>
          </ac:picMkLst>
        </pc:picChg>
        <pc:picChg chg="del">
          <ac:chgData name="Shimail Gillani" userId="6249fe15-c6e5-4382-8452-bcdbac0a2ff8" providerId="ADAL" clId="{90760DBC-CA94-4A58-857B-2E9EE1D0CC5A}" dt="2018-02-06T03:25:29.684" v="19" actId="2696"/>
          <ac:picMkLst>
            <pc:docMk/>
            <pc:sldMk cId="262720886" sldId="257"/>
            <ac:picMk id="4" creationId="{C51388E6-A9F5-4696-B4FB-0930A8EA7BCB}"/>
          </ac:picMkLst>
        </pc:picChg>
      </pc:sldChg>
      <pc:sldChg chg="del">
        <pc:chgData name="Shimail Gillani" userId="6249fe15-c6e5-4382-8452-bcdbac0a2ff8" providerId="ADAL" clId="{90760DBC-CA94-4A58-857B-2E9EE1D0CC5A}" dt="2018-02-06T03:24:02.106" v="0" actId="2696"/>
        <pc:sldMkLst>
          <pc:docMk/>
          <pc:sldMk cId="705509317" sldId="260"/>
        </pc:sldMkLst>
      </pc:sldChg>
      <pc:sldChg chg="modSp del">
        <pc:chgData name="Shimail Gillani" userId="6249fe15-c6e5-4382-8452-bcdbac0a2ff8" providerId="ADAL" clId="{90760DBC-CA94-4A58-857B-2E9EE1D0CC5A}" dt="2018-02-06T03:29:46.199" v="241" actId="2696"/>
        <pc:sldMkLst>
          <pc:docMk/>
          <pc:sldMk cId="2768159458" sldId="266"/>
        </pc:sldMkLst>
        <pc:grpChg chg="mod">
          <ac:chgData name="Shimail Gillani" userId="6249fe15-c6e5-4382-8452-bcdbac0a2ff8" providerId="ADAL" clId="{90760DBC-CA94-4A58-857B-2E9EE1D0CC5A}" dt="2018-02-06T03:26:45.429" v="43" actId="1036"/>
          <ac:grpSpMkLst>
            <pc:docMk/>
            <pc:sldMk cId="2768159458" sldId="266"/>
            <ac:grpSpMk id="172" creationId="{00000000-0000-0000-0000-000000000000}"/>
          </ac:grpSpMkLst>
        </pc:grpChg>
      </pc:sldChg>
      <pc:sldChg chg="del">
        <pc:chgData name="Shimail Gillani" userId="6249fe15-c6e5-4382-8452-bcdbac0a2ff8" providerId="ADAL" clId="{90760DBC-CA94-4A58-857B-2E9EE1D0CC5A}" dt="2018-02-06T03:29:47.038" v="243" actId="2696"/>
        <pc:sldMkLst>
          <pc:docMk/>
          <pc:sldMk cId="1205402344" sldId="276"/>
        </pc:sldMkLst>
      </pc:sldChg>
      <pc:sldChg chg="del">
        <pc:chgData name="Shimail Gillani" userId="6249fe15-c6e5-4382-8452-bcdbac0a2ff8" providerId="ADAL" clId="{90760DBC-CA94-4A58-857B-2E9EE1D0CC5A}" dt="2018-02-06T03:29:46.785" v="242" actId="2696"/>
        <pc:sldMkLst>
          <pc:docMk/>
          <pc:sldMk cId="752880199" sldId="278"/>
        </pc:sldMkLst>
      </pc:sldChg>
      <pc:sldChg chg="del">
        <pc:chgData name="Shimail Gillani" userId="6249fe15-c6e5-4382-8452-bcdbac0a2ff8" providerId="ADAL" clId="{90760DBC-CA94-4A58-857B-2E9EE1D0CC5A}" dt="2018-02-06T03:29:47.201" v="244" actId="2696"/>
        <pc:sldMkLst>
          <pc:docMk/>
          <pc:sldMk cId="3657412772" sldId="282"/>
        </pc:sldMkLst>
      </pc:sldChg>
      <pc:sldChg chg="del">
        <pc:chgData name="Shimail Gillani" userId="6249fe15-c6e5-4382-8452-bcdbac0a2ff8" providerId="ADAL" clId="{90760DBC-CA94-4A58-857B-2E9EE1D0CC5A}" dt="2018-02-06T03:29:48.446" v="248" actId="2696"/>
        <pc:sldMkLst>
          <pc:docMk/>
          <pc:sldMk cId="2725061527" sldId="283"/>
        </pc:sldMkLst>
      </pc:sldChg>
      <pc:sldChg chg="del">
        <pc:chgData name="Shimail Gillani" userId="6249fe15-c6e5-4382-8452-bcdbac0a2ff8" providerId="ADAL" clId="{90760DBC-CA94-4A58-857B-2E9EE1D0CC5A}" dt="2018-02-06T03:29:47.586" v="246" actId="2696"/>
        <pc:sldMkLst>
          <pc:docMk/>
          <pc:sldMk cId="1837224261" sldId="284"/>
        </pc:sldMkLst>
      </pc:sldChg>
      <pc:sldChg chg="del">
        <pc:chgData name="Shimail Gillani" userId="6249fe15-c6e5-4382-8452-bcdbac0a2ff8" providerId="ADAL" clId="{90760DBC-CA94-4A58-857B-2E9EE1D0CC5A}" dt="2018-02-06T03:29:47.786" v="247" actId="2696"/>
        <pc:sldMkLst>
          <pc:docMk/>
          <pc:sldMk cId="3857752999" sldId="285"/>
        </pc:sldMkLst>
      </pc:sldChg>
      <pc:sldChg chg="del">
        <pc:chgData name="Shimail Gillani" userId="6249fe15-c6e5-4382-8452-bcdbac0a2ff8" providerId="ADAL" clId="{90760DBC-CA94-4A58-857B-2E9EE1D0CC5A}" dt="2018-02-06T03:29:48.909" v="249" actId="2696"/>
        <pc:sldMkLst>
          <pc:docMk/>
          <pc:sldMk cId="2807483491" sldId="286"/>
        </pc:sldMkLst>
      </pc:sldChg>
      <pc:sldChg chg="del">
        <pc:chgData name="Shimail Gillani" userId="6249fe15-c6e5-4382-8452-bcdbac0a2ff8" providerId="ADAL" clId="{90760DBC-CA94-4A58-857B-2E9EE1D0CC5A}" dt="2018-02-06T03:29:49.327" v="250" actId="2696"/>
        <pc:sldMkLst>
          <pc:docMk/>
          <pc:sldMk cId="1475020708" sldId="287"/>
        </pc:sldMkLst>
      </pc:sldChg>
      <pc:sldChg chg="del">
        <pc:chgData name="Shimail Gillani" userId="6249fe15-c6e5-4382-8452-bcdbac0a2ff8" providerId="ADAL" clId="{90760DBC-CA94-4A58-857B-2E9EE1D0CC5A}" dt="2018-02-06T03:29:49.933" v="251" actId="2696"/>
        <pc:sldMkLst>
          <pc:docMk/>
          <pc:sldMk cId="201644659" sldId="288"/>
        </pc:sldMkLst>
      </pc:sldChg>
      <pc:sldChg chg="del">
        <pc:chgData name="Shimail Gillani" userId="6249fe15-c6e5-4382-8452-bcdbac0a2ff8" providerId="ADAL" clId="{90760DBC-CA94-4A58-857B-2E9EE1D0CC5A}" dt="2018-02-06T03:29:47.396" v="245" actId="2696"/>
        <pc:sldMkLst>
          <pc:docMk/>
          <pc:sldMk cId="3232699719" sldId="289"/>
        </pc:sldMkLst>
      </pc:sldChg>
      <pc:sldChg chg="add del">
        <pc:chgData name="Shimail Gillani" userId="6249fe15-c6e5-4382-8452-bcdbac0a2ff8" providerId="ADAL" clId="{90760DBC-CA94-4A58-857B-2E9EE1D0CC5A}" dt="2018-02-06T03:29:56.944" v="256" actId="2696"/>
        <pc:sldMkLst>
          <pc:docMk/>
          <pc:sldMk cId="2727882917" sldId="292"/>
        </pc:sldMkLst>
      </pc:sldChg>
      <pc:sldChg chg="addSp delSp modSp">
        <pc:chgData name="Shimail Gillani" userId="6249fe15-c6e5-4382-8452-bcdbac0a2ff8" providerId="ADAL" clId="{90760DBC-CA94-4A58-857B-2E9EE1D0CC5A}" dt="2018-02-06T03:29:13.908" v="238" actId="1076"/>
        <pc:sldMkLst>
          <pc:docMk/>
          <pc:sldMk cId="402419342" sldId="294"/>
        </pc:sldMkLst>
        <pc:spChg chg="add mod ord">
          <ac:chgData name="Shimail Gillani" userId="6249fe15-c6e5-4382-8452-bcdbac0a2ff8" providerId="ADAL" clId="{90760DBC-CA94-4A58-857B-2E9EE1D0CC5A}" dt="2018-02-06T03:28:44.370" v="235" actId="167"/>
          <ac:spMkLst>
            <pc:docMk/>
            <pc:sldMk cId="402419342" sldId="294"/>
            <ac:spMk id="2" creationId="{9BB16481-9252-4846-BD5E-7424BEDEC106}"/>
          </ac:spMkLst>
        </pc:spChg>
        <pc:spChg chg="add del">
          <ac:chgData name="Shimail Gillani" userId="6249fe15-c6e5-4382-8452-bcdbac0a2ff8" providerId="ADAL" clId="{90760DBC-CA94-4A58-857B-2E9EE1D0CC5A}" dt="2018-02-06T03:26:01.156" v="22" actId="1076"/>
          <ac:spMkLst>
            <pc:docMk/>
            <pc:sldMk cId="402419342" sldId="294"/>
            <ac:spMk id="4" creationId="{F6A7250B-42F2-4FC9-B1BD-372BCBE3FEAD}"/>
          </ac:spMkLst>
        </pc:spChg>
        <pc:spChg chg="add del">
          <ac:chgData name="Shimail Gillani" userId="6249fe15-c6e5-4382-8452-bcdbac0a2ff8" providerId="ADAL" clId="{90760DBC-CA94-4A58-857B-2E9EE1D0CC5A}" dt="2018-02-06T03:26:14.782" v="24" actId="1076"/>
          <ac:spMkLst>
            <pc:docMk/>
            <pc:sldMk cId="402419342" sldId="294"/>
            <ac:spMk id="5" creationId="{E61F89E2-60BA-48A5-831A-C1DF17C90117}"/>
          </ac:spMkLst>
        </pc:spChg>
        <pc:spChg chg="add del">
          <ac:chgData name="Shimail Gillani" userId="6249fe15-c6e5-4382-8452-bcdbac0a2ff8" providerId="ADAL" clId="{90760DBC-CA94-4A58-857B-2E9EE1D0CC5A}" dt="2018-02-06T03:26:57.030" v="44" actId="1076"/>
          <ac:spMkLst>
            <pc:docMk/>
            <pc:sldMk cId="402419342" sldId="294"/>
            <ac:spMk id="6" creationId="{197ADA3E-7B5B-410E-99DB-1EB15022C741}"/>
          </ac:spMkLst>
        </pc:spChg>
        <pc:spChg chg="add mod">
          <ac:chgData name="Shimail Gillani" userId="6249fe15-c6e5-4382-8452-bcdbac0a2ff8" providerId="ADAL" clId="{90760DBC-CA94-4A58-857B-2E9EE1D0CC5A}" dt="2018-02-06T03:27:02.951" v="46" actId="1076"/>
          <ac:spMkLst>
            <pc:docMk/>
            <pc:sldMk cId="402419342" sldId="294"/>
            <ac:spMk id="8" creationId="{2CB5090F-F4A9-402D-BE13-5672F21F308F}"/>
          </ac:spMkLst>
        </pc:spChg>
        <pc:spChg chg="add mod">
          <ac:chgData name="Shimail Gillani" userId="6249fe15-c6e5-4382-8452-bcdbac0a2ff8" providerId="ADAL" clId="{90760DBC-CA94-4A58-857B-2E9EE1D0CC5A}" dt="2018-02-06T03:27:10.939" v="61" actId="20577"/>
          <ac:spMkLst>
            <pc:docMk/>
            <pc:sldMk cId="402419342" sldId="294"/>
            <ac:spMk id="9" creationId="{C14A9259-80B5-4EDA-9243-D693E08EBE38}"/>
          </ac:spMkLst>
        </pc:spChg>
        <pc:spChg chg="add mod">
          <ac:chgData name="Shimail Gillani" userId="6249fe15-c6e5-4382-8452-bcdbac0a2ff8" providerId="ADAL" clId="{90760DBC-CA94-4A58-857B-2E9EE1D0CC5A}" dt="2018-02-06T03:27:41.007" v="213" actId="1036"/>
          <ac:spMkLst>
            <pc:docMk/>
            <pc:sldMk cId="402419342" sldId="294"/>
            <ac:spMk id="11" creationId="{23B94746-429A-4DDB-A200-AF77EE71E7B0}"/>
          </ac:spMkLst>
        </pc:spChg>
        <pc:spChg chg="add mod">
          <ac:chgData name="Shimail Gillani" userId="6249fe15-c6e5-4382-8452-bcdbac0a2ff8" providerId="ADAL" clId="{90760DBC-CA94-4A58-857B-2E9EE1D0CC5A}" dt="2018-02-06T03:27:41.007" v="213" actId="1036"/>
          <ac:spMkLst>
            <pc:docMk/>
            <pc:sldMk cId="402419342" sldId="294"/>
            <ac:spMk id="12" creationId="{3B5018DF-FC53-4C72-A0EB-A7247D1B5E67}"/>
          </ac:spMkLst>
        </pc:spChg>
        <pc:spChg chg="add del">
          <ac:chgData name="Shimail Gillani" userId="6249fe15-c6e5-4382-8452-bcdbac0a2ff8" providerId="ADAL" clId="{90760DBC-CA94-4A58-857B-2E9EE1D0CC5A}" dt="2018-02-06T03:27:49.397" v="215" actId="1076"/>
          <ac:spMkLst>
            <pc:docMk/>
            <pc:sldMk cId="402419342" sldId="294"/>
            <ac:spMk id="14" creationId="{17D2BEED-A099-4E49-8DA4-3C48D55AE2F7}"/>
          </ac:spMkLst>
        </pc:spChg>
        <pc:spChg chg="add del">
          <ac:chgData name="Shimail Gillani" userId="6249fe15-c6e5-4382-8452-bcdbac0a2ff8" providerId="ADAL" clId="{90760DBC-CA94-4A58-857B-2E9EE1D0CC5A}" dt="2018-02-06T03:27:49.397" v="215" actId="1076"/>
          <ac:spMkLst>
            <pc:docMk/>
            <pc:sldMk cId="402419342" sldId="294"/>
            <ac:spMk id="15" creationId="{4F121075-B5D3-4B75-83EF-4B32D829207D}"/>
          </ac:spMkLst>
        </pc:spChg>
        <pc:spChg chg="add mod">
          <ac:chgData name="Shimail Gillani" userId="6249fe15-c6e5-4382-8452-bcdbac0a2ff8" providerId="ADAL" clId="{90760DBC-CA94-4A58-857B-2E9EE1D0CC5A}" dt="2018-02-06T03:27:53.136" v="217" actId="1076"/>
          <ac:spMkLst>
            <pc:docMk/>
            <pc:sldMk cId="402419342" sldId="294"/>
            <ac:spMk id="17" creationId="{02907AB6-DD88-4152-A3A1-EA5271505721}"/>
          </ac:spMkLst>
        </pc:spChg>
        <pc:spChg chg="add mod">
          <ac:chgData name="Shimail Gillani" userId="6249fe15-c6e5-4382-8452-bcdbac0a2ff8" providerId="ADAL" clId="{90760DBC-CA94-4A58-857B-2E9EE1D0CC5A}" dt="2018-02-06T03:27:56.582" v="222" actId="20577"/>
          <ac:spMkLst>
            <pc:docMk/>
            <pc:sldMk cId="402419342" sldId="294"/>
            <ac:spMk id="18" creationId="{7C34F087-AC9A-4B6D-A85B-D12A892098FA}"/>
          </ac:spMkLst>
        </pc:spChg>
        <pc:spChg chg="add del mod">
          <ac:chgData name="Shimail Gillani" userId="6249fe15-c6e5-4382-8452-bcdbac0a2ff8" providerId="ADAL" clId="{90760DBC-CA94-4A58-857B-2E9EE1D0CC5A}" dt="2018-02-06T03:28:18.226" v="233" actId="478"/>
          <ac:spMkLst>
            <pc:docMk/>
            <pc:sldMk cId="402419342" sldId="294"/>
            <ac:spMk id="20" creationId="{8E71B549-50E3-4877-8DFF-72E03C8F93D9}"/>
          </ac:spMkLst>
        </pc:spChg>
        <pc:spChg chg="add mod">
          <ac:chgData name="Shimail Gillani" userId="6249fe15-c6e5-4382-8452-bcdbac0a2ff8" providerId="ADAL" clId="{90760DBC-CA94-4A58-857B-2E9EE1D0CC5A}" dt="2018-02-06T03:28:03.347" v="225" actId="1076"/>
          <ac:spMkLst>
            <pc:docMk/>
            <pc:sldMk cId="402419342" sldId="294"/>
            <ac:spMk id="21" creationId="{0124B060-ACC1-46A9-A0E8-3DB6EDF8FD45}"/>
          </ac:spMkLst>
        </pc:spChg>
        <pc:spChg chg="add mod">
          <ac:chgData name="Shimail Gillani" userId="6249fe15-c6e5-4382-8452-bcdbac0a2ff8" providerId="ADAL" clId="{90760DBC-CA94-4A58-857B-2E9EE1D0CC5A}" dt="2018-02-06T03:28:10.958" v="232" actId="20577"/>
          <ac:spMkLst>
            <pc:docMk/>
            <pc:sldMk cId="402419342" sldId="294"/>
            <ac:spMk id="22" creationId="{A9AA1F44-594C-42A9-9CA4-0C8DEB596CCD}"/>
          </ac:spMkLst>
        </pc:spChg>
        <pc:spChg chg="add del">
          <ac:chgData name="Shimail Gillani" userId="6249fe15-c6e5-4382-8452-bcdbac0a2ff8" providerId="ADAL" clId="{90760DBC-CA94-4A58-857B-2E9EE1D0CC5A}" dt="2018-02-06T03:28:08.980" v="227" actId="1076"/>
          <ac:spMkLst>
            <pc:docMk/>
            <pc:sldMk cId="402419342" sldId="294"/>
            <ac:spMk id="24" creationId="{CD0F1DC2-48B1-427A-BC51-3630D46B6D84}"/>
          </ac:spMkLst>
        </pc:spChg>
        <pc:spChg chg="add del">
          <ac:chgData name="Shimail Gillani" userId="6249fe15-c6e5-4382-8452-bcdbac0a2ff8" providerId="ADAL" clId="{90760DBC-CA94-4A58-857B-2E9EE1D0CC5A}" dt="2018-02-06T03:28:08.980" v="227" actId="1076"/>
          <ac:spMkLst>
            <pc:docMk/>
            <pc:sldMk cId="402419342" sldId="294"/>
            <ac:spMk id="25" creationId="{0D9F4E7E-0291-4A9C-A357-6283E4187C3B}"/>
          </ac:spMkLst>
        </pc:spChg>
        <pc:spChg chg="add mod ord">
          <ac:chgData name="Shimail Gillani" userId="6249fe15-c6e5-4382-8452-bcdbac0a2ff8" providerId="ADAL" clId="{90760DBC-CA94-4A58-857B-2E9EE1D0CC5A}" dt="2018-02-06T03:29:13.908" v="238" actId="1076"/>
          <ac:spMkLst>
            <pc:docMk/>
            <pc:sldMk cId="402419342" sldId="294"/>
            <ac:spMk id="27" creationId="{D776B017-8375-4E4D-A4AD-D23A9AF924CE}"/>
          </ac:spMkLst>
        </pc:spChg>
        <pc:picChg chg="del">
          <ac:chgData name="Shimail Gillani" userId="6249fe15-c6e5-4382-8452-bcdbac0a2ff8" providerId="ADAL" clId="{90760DBC-CA94-4A58-857B-2E9EE1D0CC5A}" dt="2018-02-06T03:25:38.398" v="20" actId="478"/>
          <ac:picMkLst>
            <pc:docMk/>
            <pc:sldMk cId="402419342" sldId="294"/>
            <ac:picMk id="3" creationId="{1E39AE6F-35AA-4196-969F-B3008369D6CC}"/>
          </ac:picMkLst>
        </pc:picChg>
        <pc:picChg chg="add del">
          <ac:chgData name="Shimail Gillani" userId="6249fe15-c6e5-4382-8452-bcdbac0a2ff8" providerId="ADAL" clId="{90760DBC-CA94-4A58-857B-2E9EE1D0CC5A}" dt="2018-02-06T03:26:57.030" v="44" actId="1076"/>
          <ac:picMkLst>
            <pc:docMk/>
            <pc:sldMk cId="402419342" sldId="294"/>
            <ac:picMk id="7" creationId="{765D8FE2-B1CC-494B-A9D9-8EF7752B2A8B}"/>
          </ac:picMkLst>
        </pc:picChg>
        <pc:picChg chg="add mod">
          <ac:chgData name="Shimail Gillani" userId="6249fe15-c6e5-4382-8452-bcdbac0a2ff8" providerId="ADAL" clId="{90760DBC-CA94-4A58-857B-2E9EE1D0CC5A}" dt="2018-02-06T03:27:02.951" v="46" actId="1076"/>
          <ac:picMkLst>
            <pc:docMk/>
            <pc:sldMk cId="402419342" sldId="294"/>
            <ac:picMk id="10" creationId="{029A847B-EF56-483B-8FDF-EAE7B515F628}"/>
          </ac:picMkLst>
        </pc:picChg>
        <pc:picChg chg="add mod">
          <ac:chgData name="Shimail Gillani" userId="6249fe15-c6e5-4382-8452-bcdbac0a2ff8" providerId="ADAL" clId="{90760DBC-CA94-4A58-857B-2E9EE1D0CC5A}" dt="2018-02-06T03:27:41.007" v="213" actId="1036"/>
          <ac:picMkLst>
            <pc:docMk/>
            <pc:sldMk cId="402419342" sldId="294"/>
            <ac:picMk id="13" creationId="{0AB15BF2-1D38-4C24-922A-5FD6E0F71F69}"/>
          </ac:picMkLst>
        </pc:picChg>
        <pc:picChg chg="add del">
          <ac:chgData name="Shimail Gillani" userId="6249fe15-c6e5-4382-8452-bcdbac0a2ff8" providerId="ADAL" clId="{90760DBC-CA94-4A58-857B-2E9EE1D0CC5A}" dt="2018-02-06T03:27:49.397" v="215" actId="1076"/>
          <ac:picMkLst>
            <pc:docMk/>
            <pc:sldMk cId="402419342" sldId="294"/>
            <ac:picMk id="16" creationId="{BBF6BEF5-E4DB-46A1-A231-2A7789F9334E}"/>
          </ac:picMkLst>
        </pc:picChg>
        <pc:picChg chg="add mod">
          <ac:chgData name="Shimail Gillani" userId="6249fe15-c6e5-4382-8452-bcdbac0a2ff8" providerId="ADAL" clId="{90760DBC-CA94-4A58-857B-2E9EE1D0CC5A}" dt="2018-02-06T03:27:53.136" v="217" actId="1076"/>
          <ac:picMkLst>
            <pc:docMk/>
            <pc:sldMk cId="402419342" sldId="294"/>
            <ac:picMk id="19" creationId="{34A5CBE8-48B3-4B82-AAB2-0A5AA4F708E6}"/>
          </ac:picMkLst>
        </pc:picChg>
        <pc:picChg chg="add mod">
          <ac:chgData name="Shimail Gillani" userId="6249fe15-c6e5-4382-8452-bcdbac0a2ff8" providerId="ADAL" clId="{90760DBC-CA94-4A58-857B-2E9EE1D0CC5A}" dt="2018-02-06T03:28:03.347" v="225" actId="1076"/>
          <ac:picMkLst>
            <pc:docMk/>
            <pc:sldMk cId="402419342" sldId="294"/>
            <ac:picMk id="23" creationId="{46E3D8F9-16D9-442A-8822-CA6ACA93B808}"/>
          </ac:picMkLst>
        </pc:picChg>
        <pc:picChg chg="add del">
          <ac:chgData name="Shimail Gillani" userId="6249fe15-c6e5-4382-8452-bcdbac0a2ff8" providerId="ADAL" clId="{90760DBC-CA94-4A58-857B-2E9EE1D0CC5A}" dt="2018-02-06T03:28:08.980" v="227" actId="1076"/>
          <ac:picMkLst>
            <pc:docMk/>
            <pc:sldMk cId="402419342" sldId="294"/>
            <ac:picMk id="26" creationId="{1FC82A90-090B-466F-8A18-A2953679157F}"/>
          </ac:picMkLst>
        </pc:picChg>
      </pc:sldChg>
      <pc:sldChg chg="addSp delSp modSp">
        <pc:chgData name="Shimail Gillani" userId="6249fe15-c6e5-4382-8452-bcdbac0a2ff8" providerId="ADAL" clId="{90760DBC-CA94-4A58-857B-2E9EE1D0CC5A}" dt="2018-02-06T03:31:48.146" v="319" actId="1076"/>
        <pc:sldMkLst>
          <pc:docMk/>
          <pc:sldMk cId="1546280890" sldId="295"/>
        </pc:sldMkLst>
        <pc:spChg chg="del">
          <ac:chgData name="Shimail Gillani" userId="6249fe15-c6e5-4382-8452-bcdbac0a2ff8" providerId="ADAL" clId="{90760DBC-CA94-4A58-857B-2E9EE1D0CC5A}" dt="2018-02-06T03:30:10.313" v="258" actId="478"/>
          <ac:spMkLst>
            <pc:docMk/>
            <pc:sldMk cId="1546280890" sldId="295"/>
            <ac:spMk id="2" creationId="{9BB16481-9252-4846-BD5E-7424BEDEC106}"/>
          </ac:spMkLst>
        </pc:spChg>
        <pc:spChg chg="del">
          <ac:chgData name="Shimail Gillani" userId="6249fe15-c6e5-4382-8452-bcdbac0a2ff8" providerId="ADAL" clId="{90760DBC-CA94-4A58-857B-2E9EE1D0CC5A}" dt="2018-02-06T03:30:29.979" v="264" actId="478"/>
          <ac:spMkLst>
            <pc:docMk/>
            <pc:sldMk cId="1546280890" sldId="295"/>
            <ac:spMk id="8" creationId="{2CB5090F-F4A9-402D-BE13-5672F21F308F}"/>
          </ac:spMkLst>
        </pc:spChg>
        <pc:spChg chg="del mod">
          <ac:chgData name="Shimail Gillani" userId="6249fe15-c6e5-4382-8452-bcdbac0a2ff8" providerId="ADAL" clId="{90760DBC-CA94-4A58-857B-2E9EE1D0CC5A}" dt="2018-02-06T03:30:21.898" v="262" actId="478"/>
          <ac:spMkLst>
            <pc:docMk/>
            <pc:sldMk cId="1546280890" sldId="295"/>
            <ac:spMk id="9" creationId="{C14A9259-80B5-4EDA-9243-D693E08EBE38}"/>
          </ac:spMkLst>
        </pc:spChg>
        <pc:spChg chg="del">
          <ac:chgData name="Shimail Gillani" userId="6249fe15-c6e5-4382-8452-bcdbac0a2ff8" providerId="ADAL" clId="{90760DBC-CA94-4A58-857B-2E9EE1D0CC5A}" dt="2018-02-06T03:30:21.898" v="262" actId="478"/>
          <ac:spMkLst>
            <pc:docMk/>
            <pc:sldMk cId="1546280890" sldId="295"/>
            <ac:spMk id="11" creationId="{23B94746-429A-4DDB-A200-AF77EE71E7B0}"/>
          </ac:spMkLst>
        </pc:spChg>
        <pc:spChg chg="del">
          <ac:chgData name="Shimail Gillani" userId="6249fe15-c6e5-4382-8452-bcdbac0a2ff8" providerId="ADAL" clId="{90760DBC-CA94-4A58-857B-2E9EE1D0CC5A}" dt="2018-02-06T03:30:21.898" v="262" actId="478"/>
          <ac:spMkLst>
            <pc:docMk/>
            <pc:sldMk cId="1546280890" sldId="295"/>
            <ac:spMk id="12" creationId="{3B5018DF-FC53-4C72-A0EB-A7247D1B5E67}"/>
          </ac:spMkLst>
        </pc:spChg>
        <pc:spChg chg="del mod">
          <ac:chgData name="Shimail Gillani" userId="6249fe15-c6e5-4382-8452-bcdbac0a2ff8" providerId="ADAL" clId="{90760DBC-CA94-4A58-857B-2E9EE1D0CC5A}" dt="2018-02-06T03:30:29.979" v="264" actId="478"/>
          <ac:spMkLst>
            <pc:docMk/>
            <pc:sldMk cId="1546280890" sldId="295"/>
            <ac:spMk id="17" creationId="{02907AB6-DD88-4152-A3A1-EA5271505721}"/>
          </ac:spMkLst>
        </pc:spChg>
        <pc:spChg chg="del">
          <ac:chgData name="Shimail Gillani" userId="6249fe15-c6e5-4382-8452-bcdbac0a2ff8" providerId="ADAL" clId="{90760DBC-CA94-4A58-857B-2E9EE1D0CC5A}" dt="2018-02-06T03:30:21.898" v="262" actId="478"/>
          <ac:spMkLst>
            <pc:docMk/>
            <pc:sldMk cId="1546280890" sldId="295"/>
            <ac:spMk id="18" creationId="{7C34F087-AC9A-4B6D-A85B-D12A892098FA}"/>
          </ac:spMkLst>
        </pc:spChg>
        <pc:spChg chg="del mod">
          <ac:chgData name="Shimail Gillani" userId="6249fe15-c6e5-4382-8452-bcdbac0a2ff8" providerId="ADAL" clId="{90760DBC-CA94-4A58-857B-2E9EE1D0CC5A}" dt="2018-02-06T03:30:29.979" v="264" actId="478"/>
          <ac:spMkLst>
            <pc:docMk/>
            <pc:sldMk cId="1546280890" sldId="295"/>
            <ac:spMk id="21" creationId="{0124B060-ACC1-46A9-A0E8-3DB6EDF8FD45}"/>
          </ac:spMkLst>
        </pc:spChg>
        <pc:spChg chg="del">
          <ac:chgData name="Shimail Gillani" userId="6249fe15-c6e5-4382-8452-bcdbac0a2ff8" providerId="ADAL" clId="{90760DBC-CA94-4A58-857B-2E9EE1D0CC5A}" dt="2018-02-06T03:30:21.898" v="262" actId="478"/>
          <ac:spMkLst>
            <pc:docMk/>
            <pc:sldMk cId="1546280890" sldId="295"/>
            <ac:spMk id="22" creationId="{A9AA1F44-594C-42A9-9CA4-0C8DEB596CCD}"/>
          </ac:spMkLst>
        </pc:spChg>
        <pc:spChg chg="del mod">
          <ac:chgData name="Shimail Gillani" userId="6249fe15-c6e5-4382-8452-bcdbac0a2ff8" providerId="ADAL" clId="{90760DBC-CA94-4A58-857B-2E9EE1D0CC5A}" dt="2018-02-06T03:30:11.568" v="260" actId="478"/>
          <ac:spMkLst>
            <pc:docMk/>
            <pc:sldMk cId="1546280890" sldId="295"/>
            <ac:spMk id="27" creationId="{D776B017-8375-4E4D-A4AD-D23A9AF924CE}"/>
          </ac:spMkLst>
        </pc:spChg>
        <pc:spChg chg="mod">
          <ac:chgData name="Shimail Gillani" userId="6249fe15-c6e5-4382-8452-bcdbac0a2ff8" providerId="ADAL" clId="{90760DBC-CA94-4A58-857B-2E9EE1D0CC5A}" dt="2018-02-06T03:30:54.269" v="311" actId="20577"/>
          <ac:spMkLst>
            <pc:docMk/>
            <pc:sldMk cId="1546280890" sldId="295"/>
            <ac:spMk id="39" creationId="{E5C6C679-AC58-4948-9F02-D10CBC7A4562}"/>
          </ac:spMkLst>
        </pc:spChg>
        <pc:picChg chg="add mod">
          <ac:chgData name="Shimail Gillani" userId="6249fe15-c6e5-4382-8452-bcdbac0a2ff8" providerId="ADAL" clId="{90760DBC-CA94-4A58-857B-2E9EE1D0CC5A}" dt="2018-02-06T03:31:48.146" v="319" actId="1076"/>
          <ac:picMkLst>
            <pc:docMk/>
            <pc:sldMk cId="1546280890" sldId="295"/>
            <ac:picMk id="4" creationId="{2CFD6A75-3A15-4EC0-AD0D-18602B80B9E5}"/>
          </ac:picMkLst>
        </pc:picChg>
        <pc:picChg chg="del mod">
          <ac:chgData name="Shimail Gillani" userId="6249fe15-c6e5-4382-8452-bcdbac0a2ff8" providerId="ADAL" clId="{90760DBC-CA94-4A58-857B-2E9EE1D0CC5A}" dt="2018-02-06T03:30:21.898" v="262" actId="478"/>
          <ac:picMkLst>
            <pc:docMk/>
            <pc:sldMk cId="1546280890" sldId="295"/>
            <ac:picMk id="10" creationId="{029A847B-EF56-483B-8FDF-EAE7B515F628}"/>
          </ac:picMkLst>
        </pc:picChg>
        <pc:picChg chg="del">
          <ac:chgData name="Shimail Gillani" userId="6249fe15-c6e5-4382-8452-bcdbac0a2ff8" providerId="ADAL" clId="{90760DBC-CA94-4A58-857B-2E9EE1D0CC5A}" dt="2018-02-06T03:30:32.309" v="265" actId="478"/>
          <ac:picMkLst>
            <pc:docMk/>
            <pc:sldMk cId="1546280890" sldId="295"/>
            <ac:picMk id="13" creationId="{0AB15BF2-1D38-4C24-922A-5FD6E0F71F69}"/>
          </ac:picMkLst>
        </pc:picChg>
        <pc:picChg chg="del mod">
          <ac:chgData name="Shimail Gillani" userId="6249fe15-c6e5-4382-8452-bcdbac0a2ff8" providerId="ADAL" clId="{90760DBC-CA94-4A58-857B-2E9EE1D0CC5A}" dt="2018-02-06T03:30:21.898" v="262" actId="478"/>
          <ac:picMkLst>
            <pc:docMk/>
            <pc:sldMk cId="1546280890" sldId="295"/>
            <ac:picMk id="19" creationId="{34A5CBE8-48B3-4B82-AAB2-0A5AA4F708E6}"/>
          </ac:picMkLst>
        </pc:picChg>
        <pc:picChg chg="del">
          <ac:chgData name="Shimail Gillani" userId="6249fe15-c6e5-4382-8452-bcdbac0a2ff8" providerId="ADAL" clId="{90760DBC-CA94-4A58-857B-2E9EE1D0CC5A}" dt="2018-02-06T03:30:21.898" v="262" actId="478"/>
          <ac:picMkLst>
            <pc:docMk/>
            <pc:sldMk cId="1546280890" sldId="295"/>
            <ac:picMk id="23" creationId="{46E3D8F9-16D9-442A-8822-CA6ACA93B808}"/>
          </ac:picMkLst>
        </pc:picChg>
      </pc:sldChg>
      <pc:sldMasterChg chg="addSldLayout delSldLayout">
        <pc:chgData name="Shimail Gillani" userId="6249fe15-c6e5-4382-8452-bcdbac0a2ff8" providerId="ADAL" clId="{90760DBC-CA94-4A58-857B-2E9EE1D0CC5A}" dt="2018-02-06T03:29:56.946" v="257" actId="2696"/>
        <pc:sldMasterMkLst>
          <pc:docMk/>
          <pc:sldMasterMk cId="4161637210" sldId="2147483853"/>
        </pc:sldMasterMkLst>
        <pc:sldLayoutChg chg="add del">
          <pc:chgData name="Shimail Gillani" userId="6249fe15-c6e5-4382-8452-bcdbac0a2ff8" providerId="ADAL" clId="{90760DBC-CA94-4A58-857B-2E9EE1D0CC5A}" dt="2018-02-06T03:29:56.946" v="257" actId="2696"/>
          <pc:sldLayoutMkLst>
            <pc:docMk/>
            <pc:sldMasterMk cId="4161637210" sldId="2147483853"/>
            <pc:sldLayoutMk cId="793378943" sldId="2147483877"/>
          </pc:sldLayoutMkLst>
        </pc:sldLayoutChg>
      </pc:sldMasterChg>
    </pc:docChg>
  </pc:docChgLst>
  <pc:docChgLst>
    <pc:chgData name="Shimail Gillani" userId="6249fe15-c6e5-4382-8452-bcdbac0a2ff8" providerId="ADAL" clId="{9F46D362-9465-4DF0-BD30-7989DF505E64}"/>
    <pc:docChg chg="custSel delSld modSld">
      <pc:chgData name="Shimail Gillani" userId="6249fe15-c6e5-4382-8452-bcdbac0a2ff8" providerId="ADAL" clId="{9F46D362-9465-4DF0-BD30-7989DF505E64}" dt="2018-02-06T03:21:46.003" v="67" actId="2696"/>
      <pc:docMkLst>
        <pc:docMk/>
      </pc:docMkLst>
      <pc:sldChg chg="delSp modSp delAnim">
        <pc:chgData name="Shimail Gillani" userId="6249fe15-c6e5-4382-8452-bcdbac0a2ff8" providerId="ADAL" clId="{9F46D362-9465-4DF0-BD30-7989DF505E64}" dt="2018-02-06T03:21:26.262" v="66" actId="6549"/>
        <pc:sldMkLst>
          <pc:docMk/>
          <pc:sldMk cId="262720886" sldId="257"/>
        </pc:sldMkLst>
        <pc:spChg chg="del">
          <ac:chgData name="Shimail Gillani" userId="6249fe15-c6e5-4382-8452-bcdbac0a2ff8" providerId="ADAL" clId="{9F46D362-9465-4DF0-BD30-7989DF505E64}" dt="2018-02-06T03:21:12.635" v="44" actId="478"/>
          <ac:spMkLst>
            <pc:docMk/>
            <pc:sldMk cId="262720886" sldId="257"/>
            <ac:spMk id="2" creationId="{6E0F4B45-5FAD-457E-A351-F29563FDEAE5}"/>
          </ac:spMkLst>
        </pc:spChg>
        <pc:spChg chg="del">
          <ac:chgData name="Shimail Gillani" userId="6249fe15-c6e5-4382-8452-bcdbac0a2ff8" providerId="ADAL" clId="{9F46D362-9465-4DF0-BD30-7989DF505E64}" dt="2018-02-06T03:21:07.336" v="43" actId="478"/>
          <ac:spMkLst>
            <pc:docMk/>
            <pc:sldMk cId="262720886" sldId="257"/>
            <ac:spMk id="6" creationId="{7719B85F-89AC-4391-932E-265EB67E153C}"/>
          </ac:spMkLst>
        </pc:spChg>
        <pc:spChg chg="del">
          <ac:chgData name="Shimail Gillani" userId="6249fe15-c6e5-4382-8452-bcdbac0a2ff8" providerId="ADAL" clId="{9F46D362-9465-4DF0-BD30-7989DF505E64}" dt="2018-02-06T03:21:07.336" v="43" actId="478"/>
          <ac:spMkLst>
            <pc:docMk/>
            <pc:sldMk cId="262720886" sldId="257"/>
            <ac:spMk id="7" creationId="{CB5B5F02-6897-4688-8680-AAAFEBCA9DE2}"/>
          </ac:spMkLst>
        </pc:spChg>
        <pc:spChg chg="del">
          <ac:chgData name="Shimail Gillani" userId="6249fe15-c6e5-4382-8452-bcdbac0a2ff8" providerId="ADAL" clId="{9F46D362-9465-4DF0-BD30-7989DF505E64}" dt="2018-02-06T03:21:07.336" v="43" actId="478"/>
          <ac:spMkLst>
            <pc:docMk/>
            <pc:sldMk cId="262720886" sldId="257"/>
            <ac:spMk id="24" creationId="{C7007828-1F60-4590-AF8D-1EA7ABB85657}"/>
          </ac:spMkLst>
        </pc:spChg>
        <pc:spChg chg="del">
          <ac:chgData name="Shimail Gillani" userId="6249fe15-c6e5-4382-8452-bcdbac0a2ff8" providerId="ADAL" clId="{9F46D362-9465-4DF0-BD30-7989DF505E64}" dt="2018-02-06T03:21:07.336" v="43" actId="478"/>
          <ac:spMkLst>
            <pc:docMk/>
            <pc:sldMk cId="262720886" sldId="257"/>
            <ac:spMk id="29" creationId="{78AB2961-C345-481D-85C9-F44CB2FFD49F}"/>
          </ac:spMkLst>
        </pc:spChg>
        <pc:spChg chg="del">
          <ac:chgData name="Shimail Gillani" userId="6249fe15-c6e5-4382-8452-bcdbac0a2ff8" providerId="ADAL" clId="{9F46D362-9465-4DF0-BD30-7989DF505E64}" dt="2018-02-06T03:21:07.336" v="43" actId="478"/>
          <ac:spMkLst>
            <pc:docMk/>
            <pc:sldMk cId="262720886" sldId="257"/>
            <ac:spMk id="32" creationId="{EBD9246A-5EFF-45CB-B380-AE5D243CDBDD}"/>
          </ac:spMkLst>
        </pc:spChg>
        <pc:spChg chg="del">
          <ac:chgData name="Shimail Gillani" userId="6249fe15-c6e5-4382-8452-bcdbac0a2ff8" providerId="ADAL" clId="{9F46D362-9465-4DF0-BD30-7989DF505E64}" dt="2018-02-06T03:21:07.336" v="43" actId="478"/>
          <ac:spMkLst>
            <pc:docMk/>
            <pc:sldMk cId="262720886" sldId="257"/>
            <ac:spMk id="38" creationId="{E0D2B215-2DB8-4396-88D6-1488A58FCE4B}"/>
          </ac:spMkLst>
        </pc:spChg>
        <pc:spChg chg="mod">
          <ac:chgData name="Shimail Gillani" userId="6249fe15-c6e5-4382-8452-bcdbac0a2ff8" providerId="ADAL" clId="{9F46D362-9465-4DF0-BD30-7989DF505E64}" dt="2018-02-06T03:21:26.262" v="66" actId="6549"/>
          <ac:spMkLst>
            <pc:docMk/>
            <pc:sldMk cId="262720886" sldId="257"/>
            <ac:spMk id="39" creationId="{E5C6C679-AC58-4948-9F02-D10CBC7A4562}"/>
          </ac:spMkLst>
        </pc:spChg>
        <pc:spChg chg="del">
          <ac:chgData name="Shimail Gillani" userId="6249fe15-c6e5-4382-8452-bcdbac0a2ff8" providerId="ADAL" clId="{9F46D362-9465-4DF0-BD30-7989DF505E64}" dt="2018-02-06T03:21:07.336" v="43" actId="478"/>
          <ac:spMkLst>
            <pc:docMk/>
            <pc:sldMk cId="262720886" sldId="257"/>
            <ac:spMk id="45" creationId="{59A12F82-3AE1-49A1-B1DA-7CB04D11AD98}"/>
          </ac:spMkLst>
        </pc:spChg>
        <pc:picChg chg="del">
          <ac:chgData name="Shimail Gillani" userId="6249fe15-c6e5-4382-8452-bcdbac0a2ff8" providerId="ADAL" clId="{9F46D362-9465-4DF0-BD30-7989DF505E64}" dt="2018-02-06T03:21:14.427" v="45" actId="478"/>
          <ac:picMkLst>
            <pc:docMk/>
            <pc:sldMk cId="262720886" sldId="257"/>
            <ac:picMk id="37" creationId="{CDA8D3D3-00DE-46C1-B804-3B8AFC37607E}"/>
          </ac:picMkLst>
        </pc:picChg>
        <pc:picChg chg="del">
          <ac:chgData name="Shimail Gillani" userId="6249fe15-c6e5-4382-8452-bcdbac0a2ff8" providerId="ADAL" clId="{9F46D362-9465-4DF0-BD30-7989DF505E64}" dt="2018-02-06T03:21:12.635" v="44" actId="478"/>
          <ac:picMkLst>
            <pc:docMk/>
            <pc:sldMk cId="262720886" sldId="257"/>
            <ac:picMk id="40" creationId="{165B8F90-6422-42B2-B5A6-396AF789F454}"/>
          </ac:picMkLst>
        </pc:picChg>
        <pc:picChg chg="del">
          <ac:chgData name="Shimail Gillani" userId="6249fe15-c6e5-4382-8452-bcdbac0a2ff8" providerId="ADAL" clId="{9F46D362-9465-4DF0-BD30-7989DF505E64}" dt="2018-02-06T03:21:07.336" v="43" actId="478"/>
          <ac:picMkLst>
            <pc:docMk/>
            <pc:sldMk cId="262720886" sldId="257"/>
            <ac:picMk id="41" creationId="{779924C2-0D61-4171-887E-3C5C2910F4EC}"/>
          </ac:picMkLst>
        </pc:picChg>
        <pc:picChg chg="del">
          <ac:chgData name="Shimail Gillani" userId="6249fe15-c6e5-4382-8452-bcdbac0a2ff8" providerId="ADAL" clId="{9F46D362-9465-4DF0-BD30-7989DF505E64}" dt="2018-02-06T03:21:12.635" v="44" actId="478"/>
          <ac:picMkLst>
            <pc:docMk/>
            <pc:sldMk cId="262720886" sldId="257"/>
            <ac:picMk id="42" creationId="{26F41006-86F4-4E5B-B677-8681E9C8C79A}"/>
          </ac:picMkLst>
        </pc:picChg>
        <pc:picChg chg="del">
          <ac:chgData name="Shimail Gillani" userId="6249fe15-c6e5-4382-8452-bcdbac0a2ff8" providerId="ADAL" clId="{9F46D362-9465-4DF0-BD30-7989DF505E64}" dt="2018-02-06T03:21:12.635" v="44" actId="478"/>
          <ac:picMkLst>
            <pc:docMk/>
            <pc:sldMk cId="262720886" sldId="257"/>
            <ac:picMk id="44" creationId="{A6391D2A-01EC-4832-9B17-E11BCB4166BC}"/>
          </ac:picMkLst>
        </pc:picChg>
      </pc:sldChg>
      <pc:sldChg chg="del">
        <pc:chgData name="Shimail Gillani" userId="6249fe15-c6e5-4382-8452-bcdbac0a2ff8" providerId="ADAL" clId="{9F46D362-9465-4DF0-BD30-7989DF505E64}" dt="2018-02-06T03:21:46.003" v="67" actId="2696"/>
        <pc:sldMkLst>
          <pc:docMk/>
          <pc:sldMk cId="3632685767" sldId="258"/>
        </pc:sldMkLst>
      </pc:sldChg>
      <pc:sldChg chg="modSp">
        <pc:chgData name="Shimail Gillani" userId="6249fe15-c6e5-4382-8452-bcdbac0a2ff8" providerId="ADAL" clId="{9F46D362-9465-4DF0-BD30-7989DF505E64}" dt="2018-02-06T03:16:01.760" v="42" actId="14100"/>
        <pc:sldMkLst>
          <pc:docMk/>
          <pc:sldMk cId="523269627" sldId="290"/>
        </pc:sldMkLst>
        <pc:spChg chg="mod">
          <ac:chgData name="Shimail Gillani" userId="6249fe15-c6e5-4382-8452-bcdbac0a2ff8" providerId="ADAL" clId="{9F46D362-9465-4DF0-BD30-7989DF505E64}" dt="2018-02-06T03:16:01.760" v="42" actId="14100"/>
          <ac:spMkLst>
            <pc:docMk/>
            <pc:sldMk cId="523269627" sldId="290"/>
            <ac:spMk id="5" creationId="{00000000-0000-0000-0000-000000000000}"/>
          </ac:spMkLst>
        </pc:spChg>
      </pc:sldChg>
    </pc:docChg>
  </pc:docChgLst>
  <pc:docChgLst>
    <pc:chgData name="Rahul Bagaria" userId="a0bd91e9-f161-4ac3-a328-32e92e9e1627" providerId="ADAL" clId="{D3199A97-0C6C-4A95-950F-3DFD4FD5FF88}"/>
  </pc:docChgLst>
  <pc:docChgLst>
    <pc:chgData name="Rahul Bagaria" userId="a0bd91e9-f161-4ac3-a328-32e92e9e1627" providerId="ADAL" clId="{961DA5C6-89C4-43F4-B455-BC27CEA2B609}"/>
  </pc:docChgLst>
  <pc:docChgLst>
    <pc:chgData name="Shimail Gillani" userId="6249fe15-c6e5-4382-8452-bcdbac0a2ff8" providerId="ADAL" clId="{DE470848-B738-407A-BA9B-D0770B418A6E}"/>
    <pc:docChg chg="undo custSel delSld modSld sldOrd delMainMaster">
      <pc:chgData name="Shimail Gillani" userId="6249fe15-c6e5-4382-8452-bcdbac0a2ff8" providerId="ADAL" clId="{DE470848-B738-407A-BA9B-D0770B418A6E}" dt="2018-02-06T04:03:01.844" v="1695" actId="20577"/>
      <pc:docMkLst>
        <pc:docMk/>
      </pc:docMkLst>
      <pc:sldChg chg="del">
        <pc:chgData name="Shimail Gillani" userId="6249fe15-c6e5-4382-8452-bcdbac0a2ff8" providerId="ADAL" clId="{DE470848-B738-407A-BA9B-D0770B418A6E}" dt="2018-02-06T03:35:56.757" v="34" actId="2696"/>
        <pc:sldMkLst>
          <pc:docMk/>
          <pc:sldMk cId="262720886" sldId="257"/>
        </pc:sldMkLst>
      </pc:sldChg>
      <pc:sldChg chg="modSp">
        <pc:chgData name="Shimail Gillani" userId="6249fe15-c6e5-4382-8452-bcdbac0a2ff8" providerId="ADAL" clId="{DE470848-B738-407A-BA9B-D0770B418A6E}" dt="2018-02-06T03:35:38.957" v="33" actId="6549"/>
        <pc:sldMkLst>
          <pc:docMk/>
          <pc:sldMk cId="523269627" sldId="290"/>
        </pc:sldMkLst>
        <pc:spChg chg="mod">
          <ac:chgData name="Shimail Gillani" userId="6249fe15-c6e5-4382-8452-bcdbac0a2ff8" providerId="ADAL" clId="{DE470848-B738-407A-BA9B-D0770B418A6E}" dt="2018-02-06T03:35:38.957" v="33" actId="6549"/>
          <ac:spMkLst>
            <pc:docMk/>
            <pc:sldMk cId="523269627" sldId="290"/>
            <ac:spMk id="5" creationId="{00000000-0000-0000-0000-000000000000}"/>
          </ac:spMkLst>
        </pc:spChg>
      </pc:sldChg>
      <pc:sldChg chg="del">
        <pc:chgData name="Shimail Gillani" userId="6249fe15-c6e5-4382-8452-bcdbac0a2ff8" providerId="ADAL" clId="{DE470848-B738-407A-BA9B-D0770B418A6E}" dt="2018-02-06T03:35:59.279" v="35" actId="2696"/>
        <pc:sldMkLst>
          <pc:docMk/>
          <pc:sldMk cId="402419342" sldId="294"/>
        </pc:sldMkLst>
      </pc:sldChg>
      <pc:sldChg chg="delSp modSp del ord">
        <pc:chgData name="Shimail Gillani" userId="6249fe15-c6e5-4382-8452-bcdbac0a2ff8" providerId="ADAL" clId="{DE470848-B738-407A-BA9B-D0770B418A6E}" dt="2018-02-06T03:42:47.885" v="125" actId="2696"/>
        <pc:sldMkLst>
          <pc:docMk/>
          <pc:sldMk cId="1546280890" sldId="295"/>
        </pc:sldMkLst>
        <pc:spChg chg="del">
          <ac:chgData name="Shimail Gillani" userId="6249fe15-c6e5-4382-8452-bcdbac0a2ff8" providerId="ADAL" clId="{DE470848-B738-407A-BA9B-D0770B418A6E}" dt="2018-02-06T03:36:12.290" v="38" actId="478"/>
          <ac:spMkLst>
            <pc:docMk/>
            <pc:sldMk cId="1546280890" sldId="295"/>
            <ac:spMk id="39" creationId="{E5C6C679-AC58-4948-9F02-D10CBC7A4562}"/>
          </ac:spMkLst>
        </pc:spChg>
        <pc:picChg chg="del mod">
          <ac:chgData name="Shimail Gillani" userId="6249fe15-c6e5-4382-8452-bcdbac0a2ff8" providerId="ADAL" clId="{DE470848-B738-407A-BA9B-D0770B418A6E}" dt="2018-02-06T03:36:02.664" v="37" actId="478"/>
          <ac:picMkLst>
            <pc:docMk/>
            <pc:sldMk cId="1546280890" sldId="295"/>
            <ac:picMk id="4" creationId="{2CFD6A75-3A15-4EC0-AD0D-18602B80B9E5}"/>
          </ac:picMkLst>
        </pc:picChg>
      </pc:sldChg>
      <pc:sldChg chg="modSp">
        <pc:chgData name="Shimail Gillani" userId="6249fe15-c6e5-4382-8452-bcdbac0a2ff8" providerId="ADAL" clId="{DE470848-B738-407A-BA9B-D0770B418A6E}" dt="2018-02-06T03:42:32.296" v="124" actId="20577"/>
        <pc:sldMkLst>
          <pc:docMk/>
          <pc:sldMk cId="2143760516" sldId="296"/>
        </pc:sldMkLst>
        <pc:spChg chg="mod">
          <ac:chgData name="Shimail Gillani" userId="6249fe15-c6e5-4382-8452-bcdbac0a2ff8" providerId="ADAL" clId="{DE470848-B738-407A-BA9B-D0770B418A6E}" dt="2018-02-06T03:42:32.296" v="124" actId="20577"/>
          <ac:spMkLst>
            <pc:docMk/>
            <pc:sldMk cId="2143760516" sldId="296"/>
            <ac:spMk id="4" creationId="{E4259E7F-5BC8-4CA8-8016-75299B38CD9C}"/>
          </ac:spMkLst>
        </pc:spChg>
      </pc:sldChg>
      <pc:sldChg chg="modSp">
        <pc:chgData name="Shimail Gillani" userId="6249fe15-c6e5-4382-8452-bcdbac0a2ff8" providerId="ADAL" clId="{DE470848-B738-407A-BA9B-D0770B418A6E}" dt="2018-02-06T03:52:24.084" v="927" actId="20577"/>
        <pc:sldMkLst>
          <pc:docMk/>
          <pc:sldMk cId="3087468273" sldId="297"/>
        </pc:sldMkLst>
        <pc:spChg chg="mod">
          <ac:chgData name="Shimail Gillani" userId="6249fe15-c6e5-4382-8452-bcdbac0a2ff8" providerId="ADAL" clId="{DE470848-B738-407A-BA9B-D0770B418A6E}" dt="2018-02-06T03:52:24.084" v="927" actId="20577"/>
          <ac:spMkLst>
            <pc:docMk/>
            <pc:sldMk cId="3087468273" sldId="297"/>
            <ac:spMk id="4" creationId="{E4259E7F-5BC8-4CA8-8016-75299B38CD9C}"/>
          </ac:spMkLst>
        </pc:spChg>
      </pc:sldChg>
      <pc:sldChg chg="modSp">
        <pc:chgData name="Shimail Gillani" userId="6249fe15-c6e5-4382-8452-bcdbac0a2ff8" providerId="ADAL" clId="{DE470848-B738-407A-BA9B-D0770B418A6E}" dt="2018-02-06T03:52:34.720" v="937" actId="20577"/>
        <pc:sldMkLst>
          <pc:docMk/>
          <pc:sldMk cId="2424934583" sldId="298"/>
        </pc:sldMkLst>
        <pc:spChg chg="mod">
          <ac:chgData name="Shimail Gillani" userId="6249fe15-c6e5-4382-8452-bcdbac0a2ff8" providerId="ADAL" clId="{DE470848-B738-407A-BA9B-D0770B418A6E}" dt="2018-02-06T03:52:34.720" v="937" actId="20577"/>
          <ac:spMkLst>
            <pc:docMk/>
            <pc:sldMk cId="2424934583" sldId="298"/>
            <ac:spMk id="4" creationId="{E4259E7F-5BC8-4CA8-8016-75299B38CD9C}"/>
          </ac:spMkLst>
        </pc:spChg>
      </pc:sldChg>
      <pc:sldChg chg="addSp delSp modSp">
        <pc:chgData name="Shimail Gillani" userId="6249fe15-c6e5-4382-8452-bcdbac0a2ff8" providerId="ADAL" clId="{DE470848-B738-407A-BA9B-D0770B418A6E}" dt="2018-02-06T03:51:58.373" v="917" actId="1037"/>
        <pc:sldMkLst>
          <pc:docMk/>
          <pc:sldMk cId="4058011235" sldId="299"/>
        </pc:sldMkLst>
        <pc:spChg chg="mod">
          <ac:chgData name="Shimail Gillani" userId="6249fe15-c6e5-4382-8452-bcdbac0a2ff8" providerId="ADAL" clId="{DE470848-B738-407A-BA9B-D0770B418A6E}" dt="2018-02-06T03:46:40.976" v="284" actId="20577"/>
          <ac:spMkLst>
            <pc:docMk/>
            <pc:sldMk cId="4058011235" sldId="299"/>
            <ac:spMk id="4" creationId="{E4259E7F-5BC8-4CA8-8016-75299B38CD9C}"/>
          </ac:spMkLst>
        </pc:spChg>
        <pc:spChg chg="del mod">
          <ac:chgData name="Shimail Gillani" userId="6249fe15-c6e5-4382-8452-bcdbac0a2ff8" providerId="ADAL" clId="{DE470848-B738-407A-BA9B-D0770B418A6E}" dt="2018-02-06T03:51:02.361" v="788" actId="478"/>
          <ac:spMkLst>
            <pc:docMk/>
            <pc:sldMk cId="4058011235" sldId="299"/>
            <ac:spMk id="5" creationId="{A69EA1B1-0BE1-4B3A-8AFA-7EE814088124}"/>
          </ac:spMkLst>
        </pc:spChg>
        <pc:spChg chg="del">
          <ac:chgData name="Shimail Gillani" userId="6249fe15-c6e5-4382-8452-bcdbac0a2ff8" providerId="ADAL" clId="{DE470848-B738-407A-BA9B-D0770B418A6E}" dt="2018-02-06T03:45:50.688" v="264" actId="478"/>
          <ac:spMkLst>
            <pc:docMk/>
            <pc:sldMk cId="4058011235" sldId="299"/>
            <ac:spMk id="6" creationId="{03859B9D-30D6-4EAE-A95F-9CA75937A696}"/>
          </ac:spMkLst>
        </pc:spChg>
        <pc:spChg chg="del mod">
          <ac:chgData name="Shimail Gillani" userId="6249fe15-c6e5-4382-8452-bcdbac0a2ff8" providerId="ADAL" clId="{DE470848-B738-407A-BA9B-D0770B418A6E}" dt="2018-02-06T03:44:08.594" v="154" actId="478"/>
          <ac:spMkLst>
            <pc:docMk/>
            <pc:sldMk cId="4058011235" sldId="299"/>
            <ac:spMk id="7" creationId="{C0F3CE53-F08B-448B-8CB0-FFECB62AEDFA}"/>
          </ac:spMkLst>
        </pc:spChg>
        <pc:spChg chg="del">
          <ac:chgData name="Shimail Gillani" userId="6249fe15-c6e5-4382-8452-bcdbac0a2ff8" providerId="ADAL" clId="{DE470848-B738-407A-BA9B-D0770B418A6E}" dt="2018-02-06T03:45:50.688" v="264" actId="478"/>
          <ac:spMkLst>
            <pc:docMk/>
            <pc:sldMk cId="4058011235" sldId="299"/>
            <ac:spMk id="8" creationId="{FCB89478-5DFF-48FD-B254-855D9AABBCA7}"/>
          </ac:spMkLst>
        </pc:spChg>
        <pc:spChg chg="del">
          <ac:chgData name="Shimail Gillani" userId="6249fe15-c6e5-4382-8452-bcdbac0a2ff8" providerId="ADAL" clId="{DE470848-B738-407A-BA9B-D0770B418A6E}" dt="2018-02-06T03:45:52.675" v="265" actId="478"/>
          <ac:spMkLst>
            <pc:docMk/>
            <pc:sldMk cId="4058011235" sldId="299"/>
            <ac:spMk id="9" creationId="{EF950194-A36D-45A1-8CD7-02467841ADFC}"/>
          </ac:spMkLst>
        </pc:spChg>
        <pc:spChg chg="del">
          <ac:chgData name="Shimail Gillani" userId="6249fe15-c6e5-4382-8452-bcdbac0a2ff8" providerId="ADAL" clId="{DE470848-B738-407A-BA9B-D0770B418A6E}" dt="2018-02-06T03:45:56.594" v="266" actId="478"/>
          <ac:spMkLst>
            <pc:docMk/>
            <pc:sldMk cId="4058011235" sldId="299"/>
            <ac:spMk id="10" creationId="{97E30700-DAFD-4926-A891-FC321D92D0BA}"/>
          </ac:spMkLst>
        </pc:spChg>
        <pc:spChg chg="add del mod">
          <ac:chgData name="Shimail Gillani" userId="6249fe15-c6e5-4382-8452-bcdbac0a2ff8" providerId="ADAL" clId="{DE470848-B738-407A-BA9B-D0770B418A6E}" dt="2018-02-06T03:51:09.058" v="792" actId="478"/>
          <ac:spMkLst>
            <pc:docMk/>
            <pc:sldMk cId="4058011235" sldId="299"/>
            <ac:spMk id="21" creationId="{B4D20F04-5856-4214-8CFC-9DBB7141774D}"/>
          </ac:spMkLst>
        </pc:spChg>
        <pc:spChg chg="add mod">
          <ac:chgData name="Shimail Gillani" userId="6249fe15-c6e5-4382-8452-bcdbac0a2ff8" providerId="ADAL" clId="{DE470848-B738-407A-BA9B-D0770B418A6E}" dt="2018-02-06T03:51:32.426" v="841" actId="1076"/>
          <ac:spMkLst>
            <pc:docMk/>
            <pc:sldMk cId="4058011235" sldId="299"/>
            <ac:spMk id="25" creationId="{0CAE8E11-E6AB-43A8-A0E2-2E16F509CBC4}"/>
          </ac:spMkLst>
        </pc:spChg>
        <pc:spChg chg="add del mod">
          <ac:chgData name="Shimail Gillani" userId="6249fe15-c6e5-4382-8452-bcdbac0a2ff8" providerId="ADAL" clId="{DE470848-B738-407A-BA9B-D0770B418A6E}" dt="2018-02-06T03:51:58.373" v="917" actId="1037"/>
          <ac:spMkLst>
            <pc:docMk/>
            <pc:sldMk cId="4058011235" sldId="299"/>
            <ac:spMk id="27" creationId="{EBFFBBFD-7518-4A4A-A26B-B458576EF304}"/>
          </ac:spMkLst>
        </pc:spChg>
        <pc:spChg chg="add mod">
          <ac:chgData name="Shimail Gillani" userId="6249fe15-c6e5-4382-8452-bcdbac0a2ff8" providerId="ADAL" clId="{DE470848-B738-407A-BA9B-D0770B418A6E}" dt="2018-02-06T03:51:47.292" v="873" actId="1076"/>
          <ac:spMkLst>
            <pc:docMk/>
            <pc:sldMk cId="4058011235" sldId="299"/>
            <ac:spMk id="29" creationId="{C9AEE951-E717-4033-8DD9-8A9AFB5237B5}"/>
          </ac:spMkLst>
        </pc:spChg>
        <pc:graphicFrameChg chg="mod modGraphic">
          <ac:chgData name="Shimail Gillani" userId="6249fe15-c6e5-4382-8452-bcdbac0a2ff8" providerId="ADAL" clId="{DE470848-B738-407A-BA9B-D0770B418A6E}" dt="2018-02-06T03:51:53.844" v="905" actId="1038"/>
          <ac:graphicFrameMkLst>
            <pc:docMk/>
            <pc:sldMk cId="4058011235" sldId="299"/>
            <ac:graphicFrameMk id="15" creationId="{CF310733-6E53-4102-AEA1-EE8CFA36A895}"/>
          </ac:graphicFrameMkLst>
        </pc:graphicFrameChg>
        <pc:graphicFrameChg chg="mod modGraphic">
          <ac:chgData name="Shimail Gillani" userId="6249fe15-c6e5-4382-8452-bcdbac0a2ff8" providerId="ADAL" clId="{DE470848-B738-407A-BA9B-D0770B418A6E}" dt="2018-02-06T03:51:47.292" v="873" actId="1076"/>
          <ac:graphicFrameMkLst>
            <pc:docMk/>
            <pc:sldMk cId="4058011235" sldId="299"/>
            <ac:graphicFrameMk id="16" creationId="{226135C9-37CC-4AEF-9D5F-66788BBDC45D}"/>
          </ac:graphicFrameMkLst>
        </pc:graphicFrameChg>
        <pc:graphicFrameChg chg="mod modGraphic">
          <ac:chgData name="Shimail Gillani" userId="6249fe15-c6e5-4382-8452-bcdbac0a2ff8" providerId="ADAL" clId="{DE470848-B738-407A-BA9B-D0770B418A6E}" dt="2018-02-06T03:51:32.426" v="841" actId="1076"/>
          <ac:graphicFrameMkLst>
            <pc:docMk/>
            <pc:sldMk cId="4058011235" sldId="299"/>
            <ac:graphicFrameMk id="17" creationId="{56E40FFC-5387-42EE-8EDA-9E6DBC04147F}"/>
          </ac:graphicFrameMkLst>
        </pc:graphicFrameChg>
        <pc:graphicFrameChg chg="del">
          <ac:chgData name="Shimail Gillani" userId="6249fe15-c6e5-4382-8452-bcdbac0a2ff8" providerId="ADAL" clId="{DE470848-B738-407A-BA9B-D0770B418A6E}" dt="2018-02-06T03:46:32.092" v="273" actId="478"/>
          <ac:graphicFrameMkLst>
            <pc:docMk/>
            <pc:sldMk cId="4058011235" sldId="299"/>
            <ac:graphicFrameMk id="18" creationId="{EA5D2E1F-1F4C-4CF6-B885-B8429EF78BCC}"/>
          </ac:graphicFrameMkLst>
        </pc:graphicFrameChg>
        <pc:picChg chg="del">
          <ac:chgData name="Shimail Gillani" userId="6249fe15-c6e5-4382-8452-bcdbac0a2ff8" providerId="ADAL" clId="{DE470848-B738-407A-BA9B-D0770B418A6E}" dt="2018-02-06T03:45:56.594" v="266" actId="478"/>
          <ac:picMkLst>
            <pc:docMk/>
            <pc:sldMk cId="4058011235" sldId="299"/>
            <ac:picMk id="12" creationId="{79C2DC2F-2237-4C81-BFD0-D054543B2C62}"/>
          </ac:picMkLst>
        </pc:picChg>
        <pc:cxnChg chg="del mod">
          <ac:chgData name="Shimail Gillani" userId="6249fe15-c6e5-4382-8452-bcdbac0a2ff8" providerId="ADAL" clId="{DE470848-B738-407A-BA9B-D0770B418A6E}" dt="2018-02-06T03:46:01.922" v="267" actId="478"/>
          <ac:cxnSpMkLst>
            <pc:docMk/>
            <pc:sldMk cId="4058011235" sldId="299"/>
            <ac:cxnSpMk id="20" creationId="{6994AFCE-7F4B-4CBC-8232-C33B45362805}"/>
          </ac:cxnSpMkLst>
        </pc:cxnChg>
        <pc:cxnChg chg="del mod">
          <ac:chgData name="Shimail Gillani" userId="6249fe15-c6e5-4382-8452-bcdbac0a2ff8" providerId="ADAL" clId="{DE470848-B738-407A-BA9B-D0770B418A6E}" dt="2018-02-06T03:46:05.722" v="269" actId="478"/>
          <ac:cxnSpMkLst>
            <pc:docMk/>
            <pc:sldMk cId="4058011235" sldId="299"/>
            <ac:cxnSpMk id="22" creationId="{4BF588BF-2210-4038-84BE-2FC35B94AB3F}"/>
          </ac:cxnSpMkLst>
        </pc:cxnChg>
        <pc:cxnChg chg="add mod">
          <ac:chgData name="Shimail Gillani" userId="6249fe15-c6e5-4382-8452-bcdbac0a2ff8" providerId="ADAL" clId="{DE470848-B738-407A-BA9B-D0770B418A6E}" dt="2018-02-06T03:51:47.292" v="873" actId="1076"/>
          <ac:cxnSpMkLst>
            <pc:docMk/>
            <pc:sldMk cId="4058011235" sldId="299"/>
            <ac:cxnSpMk id="23" creationId="{D413D7D5-A00C-49AE-93CC-2068E1E6308D}"/>
          </ac:cxnSpMkLst>
        </pc:cxnChg>
        <pc:cxnChg chg="del mod">
          <ac:chgData name="Shimail Gillani" userId="6249fe15-c6e5-4382-8452-bcdbac0a2ff8" providerId="ADAL" clId="{DE470848-B738-407A-BA9B-D0770B418A6E}" dt="2018-02-06T03:46:03.615" v="268" actId="478"/>
          <ac:cxnSpMkLst>
            <pc:docMk/>
            <pc:sldMk cId="4058011235" sldId="299"/>
            <ac:cxnSpMk id="24" creationId="{E68297CD-8354-4533-8AD8-0AF20EF78F24}"/>
          </ac:cxnSpMkLst>
        </pc:cxnChg>
        <pc:cxnChg chg="add mod">
          <ac:chgData name="Shimail Gillani" userId="6249fe15-c6e5-4382-8452-bcdbac0a2ff8" providerId="ADAL" clId="{DE470848-B738-407A-BA9B-D0770B418A6E}" dt="2018-02-06T03:51:32.426" v="841" actId="1076"/>
          <ac:cxnSpMkLst>
            <pc:docMk/>
            <pc:sldMk cId="4058011235" sldId="299"/>
            <ac:cxnSpMk id="26" creationId="{C5578ACF-3003-4F70-83BA-23B76D9C86D6}"/>
          </ac:cxnSpMkLst>
        </pc:cxnChg>
        <pc:cxnChg chg="add mod">
          <ac:chgData name="Shimail Gillani" userId="6249fe15-c6e5-4382-8452-bcdbac0a2ff8" providerId="ADAL" clId="{DE470848-B738-407A-BA9B-D0770B418A6E}" dt="2018-02-06T03:51:58.373" v="917" actId="1037"/>
          <ac:cxnSpMkLst>
            <pc:docMk/>
            <pc:sldMk cId="4058011235" sldId="299"/>
            <ac:cxnSpMk id="28" creationId="{1224B73D-3485-4298-97A3-3887DF7797FB}"/>
          </ac:cxnSpMkLst>
        </pc:cxnChg>
        <pc:cxnChg chg="del mod">
          <ac:chgData name="Shimail Gillani" userId="6249fe15-c6e5-4382-8452-bcdbac0a2ff8" providerId="ADAL" clId="{DE470848-B738-407A-BA9B-D0770B418A6E}" dt="2018-02-06T03:51:07.451" v="791" actId="478"/>
          <ac:cxnSpMkLst>
            <pc:docMk/>
            <pc:sldMk cId="4058011235" sldId="299"/>
            <ac:cxnSpMk id="32" creationId="{BF417854-BDF5-45CE-9DF2-737A8164B622}"/>
          </ac:cxnSpMkLst>
        </pc:cxnChg>
      </pc:sldChg>
      <pc:sldChg chg="addSp delSp modSp">
        <pc:chgData name="Shimail Gillani" userId="6249fe15-c6e5-4382-8452-bcdbac0a2ff8" providerId="ADAL" clId="{DE470848-B738-407A-BA9B-D0770B418A6E}" dt="2018-02-06T04:03:01.844" v="1695" actId="20577"/>
        <pc:sldMkLst>
          <pc:docMk/>
          <pc:sldMk cId="2730602760" sldId="300"/>
        </pc:sldMkLst>
        <pc:spChg chg="mod">
          <ac:chgData name="Shimail Gillani" userId="6249fe15-c6e5-4382-8452-bcdbac0a2ff8" providerId="ADAL" clId="{DE470848-B738-407A-BA9B-D0770B418A6E}" dt="2018-02-06T03:53:57.674" v="940" actId="20577"/>
          <ac:spMkLst>
            <pc:docMk/>
            <pc:sldMk cId="2730602760" sldId="300"/>
            <ac:spMk id="4" creationId="{E4259E7F-5BC8-4CA8-8016-75299B38CD9C}"/>
          </ac:spMkLst>
        </pc:spChg>
        <pc:spChg chg="add mod">
          <ac:chgData name="Shimail Gillani" userId="6249fe15-c6e5-4382-8452-bcdbac0a2ff8" providerId="ADAL" clId="{DE470848-B738-407A-BA9B-D0770B418A6E}" dt="2018-02-06T04:01:02.175" v="1549" actId="1037"/>
          <ac:spMkLst>
            <pc:docMk/>
            <pc:sldMk cId="2730602760" sldId="300"/>
            <ac:spMk id="19" creationId="{15E6A2F3-8BBF-46BB-9ADF-AA4F397D701E}"/>
          </ac:spMkLst>
        </pc:spChg>
        <pc:spChg chg="add del">
          <ac:chgData name="Shimail Gillani" userId="6249fe15-c6e5-4382-8452-bcdbac0a2ff8" providerId="ADAL" clId="{DE470848-B738-407A-BA9B-D0770B418A6E}" dt="2018-02-06T04:00:45.716" v="1434" actId="20577"/>
          <ac:spMkLst>
            <pc:docMk/>
            <pc:sldMk cId="2730602760" sldId="300"/>
            <ac:spMk id="22" creationId="{C890AD55-17D5-4B70-8A04-A95773809EB8}"/>
          </ac:spMkLst>
        </pc:spChg>
        <pc:spChg chg="del">
          <ac:chgData name="Shimail Gillani" userId="6249fe15-c6e5-4382-8452-bcdbac0a2ff8" providerId="ADAL" clId="{DE470848-B738-407A-BA9B-D0770B418A6E}" dt="2018-02-06T03:58:56.167" v="1307" actId="478"/>
          <ac:spMkLst>
            <pc:docMk/>
            <pc:sldMk cId="2730602760" sldId="300"/>
            <ac:spMk id="25" creationId="{0CAE8E11-E6AB-43A8-A0E2-2E16F509CBC4}"/>
          </ac:spMkLst>
        </pc:spChg>
        <pc:spChg chg="mod">
          <ac:chgData name="Shimail Gillani" userId="6249fe15-c6e5-4382-8452-bcdbac0a2ff8" providerId="ADAL" clId="{DE470848-B738-407A-BA9B-D0770B418A6E}" dt="2018-02-06T03:56:49.225" v="1099" actId="1076"/>
          <ac:spMkLst>
            <pc:docMk/>
            <pc:sldMk cId="2730602760" sldId="300"/>
            <ac:spMk id="27" creationId="{EBFFBBFD-7518-4A4A-A26B-B458576EF304}"/>
          </ac:spMkLst>
        </pc:spChg>
        <pc:spChg chg="mod">
          <ac:chgData name="Shimail Gillani" userId="6249fe15-c6e5-4382-8452-bcdbac0a2ff8" providerId="ADAL" clId="{DE470848-B738-407A-BA9B-D0770B418A6E}" dt="2018-02-06T03:57:32.134" v="1179" actId="1038"/>
          <ac:spMkLst>
            <pc:docMk/>
            <pc:sldMk cId="2730602760" sldId="300"/>
            <ac:spMk id="29" creationId="{C9AEE951-E717-4033-8DD9-8A9AFB5237B5}"/>
          </ac:spMkLst>
        </pc:spChg>
        <pc:spChg chg="add mod">
          <ac:chgData name="Shimail Gillani" userId="6249fe15-c6e5-4382-8452-bcdbac0a2ff8" providerId="ADAL" clId="{DE470848-B738-407A-BA9B-D0770B418A6E}" dt="2018-02-06T04:01:12.131" v="1558" actId="20577"/>
          <ac:spMkLst>
            <pc:docMk/>
            <pc:sldMk cId="2730602760" sldId="300"/>
            <ac:spMk id="31" creationId="{F6E8AD6A-7F94-4760-8C33-6FBD3EA6C154}"/>
          </ac:spMkLst>
        </pc:spChg>
        <pc:graphicFrameChg chg="add mod modGraphic">
          <ac:chgData name="Shimail Gillani" userId="6249fe15-c6e5-4382-8452-bcdbac0a2ff8" providerId="ADAL" clId="{DE470848-B738-407A-BA9B-D0770B418A6E}" dt="2018-02-06T04:01:02.175" v="1549" actId="1037"/>
          <ac:graphicFrameMkLst>
            <pc:docMk/>
            <pc:sldMk cId="2730602760" sldId="300"/>
            <ac:graphicFrameMk id="14" creationId="{E42C03DE-C39B-4B46-A392-64F222F45202}"/>
          </ac:graphicFrameMkLst>
        </pc:graphicFrameChg>
        <pc:graphicFrameChg chg="mod modGraphic">
          <ac:chgData name="Shimail Gillani" userId="6249fe15-c6e5-4382-8452-bcdbac0a2ff8" providerId="ADAL" clId="{DE470848-B738-407A-BA9B-D0770B418A6E}" dt="2018-02-06T04:03:01.844" v="1695" actId="20577"/>
          <ac:graphicFrameMkLst>
            <pc:docMk/>
            <pc:sldMk cId="2730602760" sldId="300"/>
            <ac:graphicFrameMk id="15" creationId="{CF310733-6E53-4102-AEA1-EE8CFA36A895}"/>
          </ac:graphicFrameMkLst>
        </pc:graphicFrameChg>
        <pc:graphicFrameChg chg="mod modGraphic">
          <ac:chgData name="Shimail Gillani" userId="6249fe15-c6e5-4382-8452-bcdbac0a2ff8" providerId="ADAL" clId="{DE470848-B738-407A-BA9B-D0770B418A6E}" dt="2018-02-06T03:58:52.444" v="1306" actId="1037"/>
          <ac:graphicFrameMkLst>
            <pc:docMk/>
            <pc:sldMk cId="2730602760" sldId="300"/>
            <ac:graphicFrameMk id="16" creationId="{226135C9-37CC-4AEF-9D5F-66788BBDC45D}"/>
          </ac:graphicFrameMkLst>
        </pc:graphicFrameChg>
        <pc:graphicFrameChg chg="del">
          <ac:chgData name="Shimail Gillani" userId="6249fe15-c6e5-4382-8452-bcdbac0a2ff8" providerId="ADAL" clId="{DE470848-B738-407A-BA9B-D0770B418A6E}" dt="2018-02-06T03:58:56.167" v="1307" actId="478"/>
          <ac:graphicFrameMkLst>
            <pc:docMk/>
            <pc:sldMk cId="2730602760" sldId="300"/>
            <ac:graphicFrameMk id="17" creationId="{56E40FFC-5387-42EE-8EDA-9E6DBC04147F}"/>
          </ac:graphicFrameMkLst>
        </pc:graphicFrameChg>
        <pc:graphicFrameChg chg="add del">
          <ac:chgData name="Shimail Gillani" userId="6249fe15-c6e5-4382-8452-bcdbac0a2ff8" providerId="ADAL" clId="{DE470848-B738-407A-BA9B-D0770B418A6E}" dt="2018-02-06T04:00:45.716" v="1434" actId="20577"/>
          <ac:graphicFrameMkLst>
            <pc:docMk/>
            <pc:sldMk cId="2730602760" sldId="300"/>
            <ac:graphicFrameMk id="20" creationId="{AB4DA261-9BEE-40E2-A973-5091A1A9319B}"/>
          </ac:graphicFrameMkLst>
        </pc:graphicFrameChg>
        <pc:graphicFrameChg chg="add mod modGraphic">
          <ac:chgData name="Shimail Gillani" userId="6249fe15-c6e5-4382-8452-bcdbac0a2ff8" providerId="ADAL" clId="{DE470848-B738-407A-BA9B-D0770B418A6E}" dt="2018-02-06T04:02:19.077" v="1683" actId="20577"/>
          <ac:graphicFrameMkLst>
            <pc:docMk/>
            <pc:sldMk cId="2730602760" sldId="300"/>
            <ac:graphicFrameMk id="24" creationId="{B672F91D-EC02-4294-B5C2-5871BAD11724}"/>
          </ac:graphicFrameMkLst>
        </pc:graphicFrameChg>
        <pc:cxnChg chg="add mod">
          <ac:chgData name="Shimail Gillani" userId="6249fe15-c6e5-4382-8452-bcdbac0a2ff8" providerId="ADAL" clId="{DE470848-B738-407A-BA9B-D0770B418A6E}" dt="2018-02-06T04:01:02.175" v="1549" actId="1037"/>
          <ac:cxnSpMkLst>
            <pc:docMk/>
            <pc:sldMk cId="2730602760" sldId="300"/>
            <ac:cxnSpMk id="18" creationId="{45FC2A3F-AC1B-4902-A96F-3DAE2D297B1D}"/>
          </ac:cxnSpMkLst>
        </pc:cxnChg>
        <pc:cxnChg chg="add del">
          <ac:chgData name="Shimail Gillani" userId="6249fe15-c6e5-4382-8452-bcdbac0a2ff8" providerId="ADAL" clId="{DE470848-B738-407A-BA9B-D0770B418A6E}" dt="2018-02-06T04:00:45.716" v="1434" actId="20577"/>
          <ac:cxnSpMkLst>
            <pc:docMk/>
            <pc:sldMk cId="2730602760" sldId="300"/>
            <ac:cxnSpMk id="21" creationId="{C8435F88-E7B8-4CE1-99A5-302E11AD8AA4}"/>
          </ac:cxnSpMkLst>
        </pc:cxnChg>
        <pc:cxnChg chg="mod">
          <ac:chgData name="Shimail Gillani" userId="6249fe15-c6e5-4382-8452-bcdbac0a2ff8" providerId="ADAL" clId="{DE470848-B738-407A-BA9B-D0770B418A6E}" dt="2018-02-06T03:57:42.939" v="1181" actId="14100"/>
          <ac:cxnSpMkLst>
            <pc:docMk/>
            <pc:sldMk cId="2730602760" sldId="300"/>
            <ac:cxnSpMk id="23" creationId="{D413D7D5-A00C-49AE-93CC-2068E1E6308D}"/>
          </ac:cxnSpMkLst>
        </pc:cxnChg>
        <pc:cxnChg chg="del">
          <ac:chgData name="Shimail Gillani" userId="6249fe15-c6e5-4382-8452-bcdbac0a2ff8" providerId="ADAL" clId="{DE470848-B738-407A-BA9B-D0770B418A6E}" dt="2018-02-06T03:58:59.369" v="1308" actId="478"/>
          <ac:cxnSpMkLst>
            <pc:docMk/>
            <pc:sldMk cId="2730602760" sldId="300"/>
            <ac:cxnSpMk id="26" creationId="{C5578ACF-3003-4F70-83BA-23B76D9C86D6}"/>
          </ac:cxnSpMkLst>
        </pc:cxnChg>
        <pc:cxnChg chg="mod">
          <ac:chgData name="Shimail Gillani" userId="6249fe15-c6e5-4382-8452-bcdbac0a2ff8" providerId="ADAL" clId="{DE470848-B738-407A-BA9B-D0770B418A6E}" dt="2018-02-06T03:56:49.225" v="1099" actId="1076"/>
          <ac:cxnSpMkLst>
            <pc:docMk/>
            <pc:sldMk cId="2730602760" sldId="300"/>
            <ac:cxnSpMk id="28" creationId="{1224B73D-3485-4298-97A3-3887DF7797FB}"/>
          </ac:cxnSpMkLst>
        </pc:cxnChg>
        <pc:cxnChg chg="add mod">
          <ac:chgData name="Shimail Gillani" userId="6249fe15-c6e5-4382-8452-bcdbac0a2ff8" providerId="ADAL" clId="{DE470848-B738-407A-BA9B-D0770B418A6E}" dt="2018-02-06T04:00:55.443" v="1532" actId="1038"/>
          <ac:cxnSpMkLst>
            <pc:docMk/>
            <pc:sldMk cId="2730602760" sldId="300"/>
            <ac:cxnSpMk id="30" creationId="{F6248E70-6FC8-4830-B21D-4701E37E3FA1}"/>
          </ac:cxnSpMkLst>
        </pc:cxnChg>
      </pc:sldChg>
      <pc:sldMasterChg chg="del delSldLayout">
        <pc:chgData name="Shimail Gillani" userId="6249fe15-c6e5-4382-8452-bcdbac0a2ff8" providerId="ADAL" clId="{DE470848-B738-407A-BA9B-D0770B418A6E}" dt="2018-02-06T03:42:47.954" v="139" actId="2696"/>
        <pc:sldMasterMkLst>
          <pc:docMk/>
          <pc:sldMasterMk cId="2101958053" sldId="2147483660"/>
        </pc:sldMasterMkLst>
        <pc:sldLayoutChg chg="del">
          <pc:chgData name="Shimail Gillani" userId="6249fe15-c6e5-4382-8452-bcdbac0a2ff8" providerId="ADAL" clId="{DE470848-B738-407A-BA9B-D0770B418A6E}" dt="2018-02-06T03:42:47.885" v="126" actId="2696"/>
          <pc:sldLayoutMkLst>
            <pc:docMk/>
            <pc:sldMasterMk cId="2101958053" sldId="2147483660"/>
            <pc:sldLayoutMk cId="2594013573" sldId="2147483661"/>
          </pc:sldLayoutMkLst>
        </pc:sldLayoutChg>
        <pc:sldLayoutChg chg="del">
          <pc:chgData name="Shimail Gillani" userId="6249fe15-c6e5-4382-8452-bcdbac0a2ff8" providerId="ADAL" clId="{DE470848-B738-407A-BA9B-D0770B418A6E}" dt="2018-02-06T03:42:47.900" v="127" actId="2696"/>
          <pc:sldLayoutMkLst>
            <pc:docMk/>
            <pc:sldMasterMk cId="2101958053" sldId="2147483660"/>
            <pc:sldLayoutMk cId="3482774000" sldId="2147483662"/>
          </pc:sldLayoutMkLst>
        </pc:sldLayoutChg>
        <pc:sldLayoutChg chg="del">
          <pc:chgData name="Shimail Gillani" userId="6249fe15-c6e5-4382-8452-bcdbac0a2ff8" providerId="ADAL" clId="{DE470848-B738-407A-BA9B-D0770B418A6E}" dt="2018-02-06T03:42:47.900" v="128" actId="2696"/>
          <pc:sldLayoutMkLst>
            <pc:docMk/>
            <pc:sldMasterMk cId="2101958053" sldId="2147483660"/>
            <pc:sldLayoutMk cId="2423369912" sldId="2147483663"/>
          </pc:sldLayoutMkLst>
        </pc:sldLayoutChg>
        <pc:sldLayoutChg chg="del">
          <pc:chgData name="Shimail Gillani" userId="6249fe15-c6e5-4382-8452-bcdbac0a2ff8" providerId="ADAL" clId="{DE470848-B738-407A-BA9B-D0770B418A6E}" dt="2018-02-06T03:42:47.900" v="129" actId="2696"/>
          <pc:sldLayoutMkLst>
            <pc:docMk/>
            <pc:sldMasterMk cId="2101958053" sldId="2147483660"/>
            <pc:sldLayoutMk cId="2197811224" sldId="2147483664"/>
          </pc:sldLayoutMkLst>
        </pc:sldLayoutChg>
        <pc:sldLayoutChg chg="del">
          <pc:chgData name="Shimail Gillani" userId="6249fe15-c6e5-4382-8452-bcdbac0a2ff8" providerId="ADAL" clId="{DE470848-B738-407A-BA9B-D0770B418A6E}" dt="2018-02-06T03:42:47.900" v="130" actId="2696"/>
          <pc:sldLayoutMkLst>
            <pc:docMk/>
            <pc:sldMasterMk cId="2101958053" sldId="2147483660"/>
            <pc:sldLayoutMk cId="3057614384" sldId="2147483665"/>
          </pc:sldLayoutMkLst>
        </pc:sldLayoutChg>
        <pc:sldLayoutChg chg="del">
          <pc:chgData name="Shimail Gillani" userId="6249fe15-c6e5-4382-8452-bcdbac0a2ff8" providerId="ADAL" clId="{DE470848-B738-407A-BA9B-D0770B418A6E}" dt="2018-02-06T03:42:47.900" v="131" actId="2696"/>
          <pc:sldLayoutMkLst>
            <pc:docMk/>
            <pc:sldMasterMk cId="2101958053" sldId="2147483660"/>
            <pc:sldLayoutMk cId="2578304701" sldId="2147483666"/>
          </pc:sldLayoutMkLst>
        </pc:sldLayoutChg>
        <pc:sldLayoutChg chg="del">
          <pc:chgData name="Shimail Gillani" userId="6249fe15-c6e5-4382-8452-bcdbac0a2ff8" providerId="ADAL" clId="{DE470848-B738-407A-BA9B-D0770B418A6E}" dt="2018-02-06T03:42:47.900" v="132" actId="2696"/>
          <pc:sldLayoutMkLst>
            <pc:docMk/>
            <pc:sldMasterMk cId="2101958053" sldId="2147483660"/>
            <pc:sldLayoutMk cId="1222340414" sldId="2147483667"/>
          </pc:sldLayoutMkLst>
        </pc:sldLayoutChg>
        <pc:sldLayoutChg chg="del">
          <pc:chgData name="Shimail Gillani" userId="6249fe15-c6e5-4382-8452-bcdbac0a2ff8" providerId="ADAL" clId="{DE470848-B738-407A-BA9B-D0770B418A6E}" dt="2018-02-06T03:42:47.900" v="133" actId="2696"/>
          <pc:sldLayoutMkLst>
            <pc:docMk/>
            <pc:sldMasterMk cId="2101958053" sldId="2147483660"/>
            <pc:sldLayoutMk cId="4049010245" sldId="2147483668"/>
          </pc:sldLayoutMkLst>
        </pc:sldLayoutChg>
        <pc:sldLayoutChg chg="del">
          <pc:chgData name="Shimail Gillani" userId="6249fe15-c6e5-4382-8452-bcdbac0a2ff8" providerId="ADAL" clId="{DE470848-B738-407A-BA9B-D0770B418A6E}" dt="2018-02-06T03:42:47.900" v="134" actId="2696"/>
          <pc:sldLayoutMkLst>
            <pc:docMk/>
            <pc:sldMasterMk cId="2101958053" sldId="2147483660"/>
            <pc:sldLayoutMk cId="566593641" sldId="2147483669"/>
          </pc:sldLayoutMkLst>
        </pc:sldLayoutChg>
        <pc:sldLayoutChg chg="del">
          <pc:chgData name="Shimail Gillani" userId="6249fe15-c6e5-4382-8452-bcdbac0a2ff8" providerId="ADAL" clId="{DE470848-B738-407A-BA9B-D0770B418A6E}" dt="2018-02-06T03:42:47.917" v="135" actId="2696"/>
          <pc:sldLayoutMkLst>
            <pc:docMk/>
            <pc:sldMasterMk cId="2101958053" sldId="2147483660"/>
            <pc:sldLayoutMk cId="3728481666" sldId="2147483670"/>
          </pc:sldLayoutMkLst>
        </pc:sldLayoutChg>
        <pc:sldLayoutChg chg="del">
          <pc:chgData name="Shimail Gillani" userId="6249fe15-c6e5-4382-8452-bcdbac0a2ff8" providerId="ADAL" clId="{DE470848-B738-407A-BA9B-D0770B418A6E}" dt="2018-02-06T03:42:47.918" v="136" actId="2696"/>
          <pc:sldLayoutMkLst>
            <pc:docMk/>
            <pc:sldMasterMk cId="2101958053" sldId="2147483660"/>
            <pc:sldLayoutMk cId="3593916180" sldId="2147483671"/>
          </pc:sldLayoutMkLst>
        </pc:sldLayoutChg>
        <pc:sldLayoutChg chg="del">
          <pc:chgData name="Shimail Gillani" userId="6249fe15-c6e5-4382-8452-bcdbac0a2ff8" providerId="ADAL" clId="{DE470848-B738-407A-BA9B-D0770B418A6E}" dt="2018-02-06T03:42:47.919" v="137" actId="2696"/>
          <pc:sldLayoutMkLst>
            <pc:docMk/>
            <pc:sldMasterMk cId="2101958053" sldId="2147483660"/>
            <pc:sldLayoutMk cId="1254140549" sldId="2147483672"/>
          </pc:sldLayoutMkLst>
        </pc:sldLayoutChg>
        <pc:sldLayoutChg chg="del">
          <pc:chgData name="Shimail Gillani" userId="6249fe15-c6e5-4382-8452-bcdbac0a2ff8" providerId="ADAL" clId="{DE470848-B738-407A-BA9B-D0770B418A6E}" dt="2018-02-06T03:42:47.920" v="138" actId="2696"/>
          <pc:sldLayoutMkLst>
            <pc:docMk/>
            <pc:sldMasterMk cId="2101958053" sldId="2147483660"/>
            <pc:sldLayoutMk cId="161832078" sldId="214748367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977349-CAAF-4EF8-AF94-2A2EB09306CA}" type="datetimeFigureOut">
              <a:rPr lang="en-US" smtClean="0"/>
              <a:t>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12606A-9F27-46D4-A8CB-C445BEA630EA}" type="slidenum">
              <a:rPr lang="en-US" smtClean="0"/>
              <a:t>‹#›</a:t>
            </a:fld>
            <a:endParaRPr lang="en-US"/>
          </a:p>
        </p:txBody>
      </p:sp>
    </p:spTree>
    <p:extLst>
      <p:ext uri="{BB962C8B-B14F-4D97-AF65-F5344CB8AC3E}">
        <p14:creationId xmlns:p14="http://schemas.microsoft.com/office/powerpoint/2010/main" val="35411521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 and </a:t>
            </a:r>
            <a:r>
              <a:rPr lang="en-US" sz="1200" kern="1200" dirty="0">
                <a:solidFill>
                  <a:schemeClr val="tx1"/>
                </a:solidFill>
                <a:effectLst/>
                <a:latin typeface="+mn-lt"/>
                <a:ea typeface="+mn-ea"/>
                <a:cs typeface="+mn-cs"/>
              </a:rPr>
              <a:t>set expectations that this presentation is designed to discuss the role of Azure as the cloud computing platform for a business’s digital transform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33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8 10: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741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0B0F60-009A-48DF-8304-85310C288C3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4823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Segoe UI Light"/>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9974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8 10: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7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8 10: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7263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 and </a:t>
            </a:r>
            <a:r>
              <a:rPr lang="en-US" sz="1200" kern="1200" dirty="0">
                <a:solidFill>
                  <a:schemeClr val="tx1"/>
                </a:solidFill>
                <a:effectLst/>
                <a:latin typeface="+mn-lt"/>
                <a:ea typeface="+mn-ea"/>
                <a:cs typeface="+mn-cs"/>
              </a:rPr>
              <a:t>set expectations that this presentation is designed to discuss the role of Azure as the cloud computing platform for a business’s digital transform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594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echnology is omnipresent. It’s shaping how</a:t>
            </a:r>
            <a:r>
              <a:rPr lang="en-US" sz="1200" kern="1200" baseline="0">
                <a:solidFill>
                  <a:schemeClr val="tx1"/>
                </a:solidFill>
                <a:effectLst/>
                <a:latin typeface="+mn-lt"/>
                <a:ea typeface="+mn-ea"/>
                <a:cs typeface="+mn-cs"/>
              </a:rPr>
              <a:t> businesses plan for innovation and growth within their markets. The importance of digital transformation is urgent; Since 2000, 52% of Fortune 500 companies are gone due to digital disruption.</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p>
          <a:p>
            <a:endParaRPr lang="en-US" sz="1200" b="1"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Every</a:t>
            </a:r>
            <a:r>
              <a:rPr lang="en-US" sz="1200" b="0" kern="1200" baseline="0">
                <a:solidFill>
                  <a:schemeClr val="tx1"/>
                </a:solidFill>
                <a:effectLst/>
                <a:latin typeface="+mn-lt"/>
                <a:ea typeface="+mn-ea"/>
                <a:cs typeface="+mn-cs"/>
              </a:rPr>
              <a:t>one is aware of how important this is. Look at a company like Uber for example. They’ve created a digital model for the taxi industry that has allowed them to surpass every other taxi company by double or more, recently valued at $62.5 Billion. They’ve created a significant shift in an industry that has been largely untouched for decades.</a:t>
            </a:r>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1945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a:t>
            </a:r>
            <a:r>
              <a:rPr lang="en-US" baseline="0" dirty="0"/>
              <a:t> virtual machine is -- well -- a virtualized machine created and managed by a hypervisor such as </a:t>
            </a:r>
            <a:r>
              <a:rPr lang="en-US" baseline="0" dirty="0" err="1"/>
              <a:t>VirtualBox</a:t>
            </a:r>
            <a:r>
              <a:rPr lang="en-US" baseline="0" dirty="0"/>
              <a:t> or Hyper-V. Even though a VM runs on a machine that has an operating system, each VM requires its own complete operating system, even if it's the same operating system as the host OS. VMs offer a very high degree of isolation, but at a cost: longer startup times, lower portability (ever tried to move a 127 GB virtual hard disk, or VHD, from one PC to another?), and higher memory requirements. Containers, by contrast, leverage the operating system that is already in place but offer nearly as much separation. RAM requirements are lower since the OS isn't being duplicated in each container, and cost is lower, too, because while cloud platforms typically charge for each VM, a single VM can host multiple container instanc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60BE34-BC89-4C98-A56B-79B7A098D0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466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82117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8 10: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3764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2018 10: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2531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ocker (www.docker.com) isn't the world's only containerization platform, but it is the most popular. It is free, open-source,</a:t>
            </a:r>
            <a:r>
              <a:rPr lang="en-US" baseline="0" dirty="0"/>
              <a:t> and Linux-based, with Windows support (Windows Server 2016) in the works. </a:t>
            </a:r>
            <a:r>
              <a:rPr lang="en-US" dirty="0"/>
              <a:t>It has earned massive</a:t>
            </a:r>
            <a:r>
              <a:rPr lang="en-US" baseline="0" dirty="0"/>
              <a:t> mindshare in the developer community. And with Azure Container Service, you can deploy Docker containers to Azure with minimal effort. Moreover, Docker containers are easily moved between Azure and Amazon Web Services (AWS), affording developers portability between cloud platfo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60BE34-BC89-4C98-A56B-79B7A098D0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236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0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5110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018 10:28 PM</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2623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5.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7.xml"/><Relationship Id="rId5" Type="http://schemas.openxmlformats.org/officeDocument/2006/relationships/image" Target="../media/image32.png"/><Relationship Id="rId4" Type="http://schemas.microsoft.com/office/2007/relationships/hdphoto" Target="../media/hdphoto1.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26.emf"/></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0.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2.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g"/><Relationship Id="rId1" Type="http://schemas.openxmlformats.org/officeDocument/2006/relationships/slideMaster" Target="../slideMasters/slideMaster10.xml"/><Relationship Id="rId4" Type="http://schemas.openxmlformats.org/officeDocument/2006/relationships/image" Target="../media/image48.pn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1.emf"/><Relationship Id="rId4" Type="http://schemas.openxmlformats.org/officeDocument/2006/relationships/oleObject" Target="../embeddings/oleObject1.bin"/></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5.emf"/><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5.xml"/><Relationship Id="rId5" Type="http://schemas.openxmlformats.org/officeDocument/2006/relationships/image" Target="../media/image32.png"/><Relationship Id="rId4" Type="http://schemas.microsoft.com/office/2007/relationships/hdphoto" Target="../media/hdphoto1.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5462884"/>
          </a:xfrm>
          <a:prstGeom prst="rect">
            <a:avLst/>
          </a:prstGeom>
        </p:spPr>
      </p:pic>
      <p:sp>
        <p:nvSpPr>
          <p:cNvPr id="8" name="Rectangle 7"/>
          <p:cNvSpPr/>
          <p:nvPr userDrawn="1"/>
        </p:nvSpPr>
        <p:spPr bwMode="auto">
          <a:xfrm>
            <a:off x="1648" y="4863467"/>
            <a:ext cx="12190352" cy="1994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1633" y="5253375"/>
            <a:ext cx="2596555" cy="1146975"/>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1632" y="470066"/>
            <a:ext cx="1423303" cy="303612"/>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599824" y="4863467"/>
            <a:ext cx="4592176" cy="1994533"/>
          </a:xfrm>
          <a:prstGeom prst="rect">
            <a:avLst/>
          </a:prstGeom>
        </p:spPr>
      </p:pic>
    </p:spTree>
    <p:extLst>
      <p:ext uri="{BB962C8B-B14F-4D97-AF65-F5344CB8AC3E}">
        <p14:creationId xmlns:p14="http://schemas.microsoft.com/office/powerpoint/2010/main" val="1378431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2114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422819356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81586436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6747242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5240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69370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75034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37166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461125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58587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289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5515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034245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98794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70685278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1376" cy="6858622"/>
          </a:xfrm>
          <a:prstGeom prst="rect">
            <a:avLst/>
          </a:prstGeom>
        </p:spPr>
      </p:pic>
      <p:pic>
        <p:nvPicPr>
          <p:cNvPr id="4" name="MS logo white"/>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9986172" y="6186209"/>
            <a:ext cx="1789713" cy="383000"/>
          </a:xfrm>
          <a:prstGeom prst="rect">
            <a:avLst/>
          </a:prstGeom>
        </p:spPr>
      </p:pic>
    </p:spTree>
    <p:extLst>
      <p:ext uri="{BB962C8B-B14F-4D97-AF65-F5344CB8AC3E}">
        <p14:creationId xmlns:p14="http://schemas.microsoft.com/office/powerpoint/2010/main" val="774932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 1">
    <p:bg>
      <p:bgPr>
        <a:solidFill>
          <a:srgbClr val="5C2D9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Rectangle 7"/>
          <p:cNvSpPr/>
          <p:nvPr userDrawn="1"/>
        </p:nvSpPr>
        <p:spPr bwMode="auto">
          <a:xfrm>
            <a:off x="1"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tretch/>
        </p:blipFill>
        <p:spPr bwMode="invGray">
          <a:xfrm>
            <a:off x="423780" y="6364281"/>
            <a:ext cx="1025270" cy="224138"/>
          </a:xfrm>
          <a:prstGeom prst="rect">
            <a:avLst/>
          </a:prstGeom>
          <a:noFill/>
          <a:ln>
            <a:noFill/>
          </a:ln>
        </p:spPr>
      </p:pic>
      <p:sp>
        <p:nvSpPr>
          <p:cNvPr id="13" name="Title 1"/>
          <p:cNvSpPr>
            <a:spLocks noGrp="1"/>
          </p:cNvSpPr>
          <p:nvPr>
            <p:ph type="title" hasCustomPrompt="1"/>
          </p:nvPr>
        </p:nvSpPr>
        <p:spPr>
          <a:xfrm>
            <a:off x="543147"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6"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70659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32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2191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175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Demo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7783" b="8254"/>
          <a:stretch/>
        </p:blipFill>
        <p:spPr>
          <a:xfrm>
            <a:off x="-1" y="0"/>
            <a:ext cx="12192001" cy="6858000"/>
          </a:xfrm>
          <a:prstGeom prst="rect">
            <a:avLst/>
          </a:prstGeom>
        </p:spPr>
      </p:pic>
      <p:sp>
        <p:nvSpPr>
          <p:cNvPr id="3" name="Rectangle 2"/>
          <p:cNvSpPr/>
          <p:nvPr userDrawn="1"/>
        </p:nvSpPr>
        <p:spPr bwMode="auto">
          <a:xfrm>
            <a:off x="0" y="0"/>
            <a:ext cx="12192000" cy="6858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19126" y="1"/>
            <a:ext cx="9172873" cy="6621296"/>
          </a:xfrm>
          <a:prstGeom prst="rect">
            <a:avLst/>
          </a:prstGeom>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84171"/>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dirty="0">
                <a:solidFill>
                  <a:schemeClr val="bg1"/>
                </a:solidFill>
              </a:rPr>
              <a:t>Demo</a:t>
            </a:r>
          </a:p>
        </p:txBody>
      </p:sp>
      <p:sp>
        <p:nvSpPr>
          <p:cNvPr id="9" name="TextBox 8"/>
          <p:cNvSpPr txBox="1"/>
          <p:nvPr userDrawn="1"/>
        </p:nvSpPr>
        <p:spPr>
          <a:xfrm>
            <a:off x="9504503" y="5726840"/>
            <a:ext cx="2671999" cy="400457"/>
          </a:xfrm>
          <a:prstGeom prst="rect">
            <a:avLst/>
          </a:prstGeom>
          <a:noFill/>
          <a:effectLst/>
        </p:spPr>
        <p:txBody>
          <a:bodyPr wrap="none" lIns="179285" tIns="143428" rIns="179285" bIns="143428" rtlCol="0">
            <a:spAutoFit/>
          </a:bodyPr>
          <a:lstStyle/>
          <a:p>
            <a:pPr algn="r" defTabSz="914367">
              <a:lnSpc>
                <a:spcPct val="90000"/>
              </a:lnSpc>
              <a:spcAft>
                <a:spcPts val="588"/>
              </a:spcAft>
            </a:pPr>
            <a:r>
              <a:rPr lang="en-US" sz="800" baseline="0" dirty="0">
                <a:solidFill>
                  <a:schemeClr val="bg1"/>
                </a:solidFill>
                <a:effectLst/>
                <a:latin typeface="Segoe UI Light" charset="0"/>
              </a:rPr>
              <a:t>Photo used under CC http://www.wocintechchat.com/</a:t>
            </a:r>
          </a:p>
        </p:txBody>
      </p:sp>
    </p:spTree>
    <p:extLst>
      <p:ext uri="{BB962C8B-B14F-4D97-AF65-F5344CB8AC3E}">
        <p14:creationId xmlns:p14="http://schemas.microsoft.com/office/powerpoint/2010/main" val="2868413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a:ext>
            </a:extLst>
          </a:blip>
          <a:srcRect l="17176"/>
          <a:stretch/>
        </p:blipFill>
        <p:spPr>
          <a:xfrm>
            <a:off x="0" y="798242"/>
            <a:ext cx="5872872" cy="5096933"/>
          </a:xfrm>
          <a:prstGeom prst="rect">
            <a:avLst/>
          </a:prstGeom>
        </p:spPr>
      </p:pic>
    </p:spTree>
    <p:extLst>
      <p:ext uri="{BB962C8B-B14F-4D97-AF65-F5344CB8AC3E}">
        <p14:creationId xmlns:p14="http://schemas.microsoft.com/office/powerpoint/2010/main" val="260563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7005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a:t>Video 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26652" y="882710"/>
            <a:ext cx="7984402" cy="5763417"/>
          </a:xfrm>
          <a:prstGeom prst="rect">
            <a:avLst/>
          </a:prstGeom>
        </p:spPr>
      </p:pic>
      <p:sp>
        <p:nvSpPr>
          <p:cNvPr id="6" name="Rectangle 5"/>
          <p:cNvSpPr/>
          <p:nvPr userDrawn="1"/>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96381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Transmiss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prstClr val="black"/>
              <a:schemeClr val="bg2">
                <a:tint val="45000"/>
                <a:satMod val="400000"/>
              </a:schemeClr>
            </a:duotone>
            <a:extLst>
              <a:ext uri="{BEBA8EAE-BF5A-486C-A8C5-ECC9F3942E4B}">
                <a14:imgProps xmlns:a14="http://schemas.microsoft.com/office/drawing/2010/main">
                  <a14:imgLayer r:embed="rId3">
                    <a14:imgEffect>
                      <a14:colorTemperature colorTemp="1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019126" y="1"/>
            <a:ext cx="9172873" cy="6621296"/>
          </a:xfrm>
          <a:prstGeom prst="rect">
            <a:avLst/>
          </a:prstGeom>
        </p:spPr>
      </p:pic>
      <p:sp>
        <p:nvSpPr>
          <p:cNvPr id="2" name="Title 1"/>
          <p:cNvSpPr>
            <a:spLocks noGrp="1"/>
          </p:cNvSpPr>
          <p:nvPr>
            <p:ph type="title" hasCustomPrompt="1"/>
          </p:nvPr>
        </p:nvSpPr>
        <p:spPr>
          <a:xfrm>
            <a:off x="568046" y="2084172"/>
            <a:ext cx="11354715"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2337222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68047" y="2084172"/>
            <a:ext cx="11354714"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899934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urpl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2331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Section Title Plain">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p:cNvSpPr/>
          <p:nvPr userDrawn="1"/>
        </p:nvSpPr>
        <p:spPr bwMode="auto">
          <a:xfrm>
            <a:off x="3232247" y="0"/>
            <a:ext cx="5711483"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3344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Section Title Plain">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p:cNvSpPr/>
          <p:nvPr userDrawn="1"/>
        </p:nvSpPr>
        <p:spPr bwMode="auto">
          <a:xfrm>
            <a:off x="1624135" y="0"/>
            <a:ext cx="8943730"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5113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34032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5C2D9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580759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90" y="6118623"/>
            <a:ext cx="1255413" cy="268966"/>
          </a:xfrm>
          <a:prstGeom prst="rect">
            <a:avLst/>
          </a:prstGeom>
        </p:spPr>
      </p:pic>
    </p:spTree>
    <p:extLst>
      <p:ext uri="{BB962C8B-B14F-4D97-AF65-F5344CB8AC3E}">
        <p14:creationId xmlns:p14="http://schemas.microsoft.com/office/powerpoint/2010/main" val="1609144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425686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596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96682"/>
          </a:xfrm>
        </p:spPr>
        <p:txBody>
          <a:bodyPr vert="horz" wrap="square" lIns="146304" tIns="91440" rIns="146304" bIns="91440" rtlCol="0">
            <a:noAutofit/>
          </a:bodyPr>
          <a:lstStyle>
            <a:lvl1pPr>
              <a:defRPr lang="en-US" sz="3920" smtClean="0"/>
            </a:lvl1pPr>
            <a:lvl2pPr>
              <a:defRPr lang="en-US" sz="3528" smtClean="0">
                <a:latin typeface="+mj-lt"/>
              </a:defRPr>
            </a:lvl2pPr>
            <a:lvl3pPr>
              <a:defRPr lang="en-US" sz="3136"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182761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75365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35637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7943647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5612184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9"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0"/>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5280550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58744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1609009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94125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76612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476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6830848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1788741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26853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63900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63556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599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82376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54111"/>
            <a:ext cx="11653522" cy="612823"/>
          </a:xfrm>
          <a:prstGeom prst="rect">
            <a:avLst/>
          </a:prstGeom>
          <a:noFill/>
          <a:ln w="12700">
            <a:noFill/>
            <a:miter lim="800000"/>
            <a:headEnd type="none" w="sm" len="sm"/>
            <a:tailEnd type="none" w="sm" len="sm"/>
          </a:ln>
          <a:effectLst/>
        </p:spPr>
        <p:txBody>
          <a:bodyPr vert="horz" wrap="square" lIns="179259" tIns="143407" rIns="179259" bIns="143407" numCol="1" anchor="b"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174988413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520260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025" indent="0">
              <a:buNone/>
              <a:defRPr sz="2000" b="1"/>
            </a:lvl2pPr>
            <a:lvl3pPr marL="914049" indent="0">
              <a:buNone/>
              <a:defRPr sz="1800" b="1"/>
            </a:lvl3pPr>
            <a:lvl4pPr marL="1371074" indent="0">
              <a:buNone/>
              <a:defRPr sz="1600" b="1"/>
            </a:lvl4pPr>
            <a:lvl5pPr marL="1828098" indent="0">
              <a:buNone/>
              <a:defRPr sz="1600" b="1"/>
            </a:lvl5pPr>
            <a:lvl6pPr marL="2285122" indent="0">
              <a:buNone/>
              <a:defRPr sz="1600" b="1"/>
            </a:lvl6pPr>
            <a:lvl7pPr marL="2742147" indent="0">
              <a:buNone/>
              <a:defRPr sz="1600" b="1"/>
            </a:lvl7pPr>
            <a:lvl8pPr marL="3199171" indent="0">
              <a:buNone/>
              <a:defRPr sz="1600" b="1"/>
            </a:lvl8pPr>
            <a:lvl9pPr marL="3656195"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6"/>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7"/>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025" indent="0">
              <a:buNone/>
              <a:defRPr sz="2000" b="1"/>
            </a:lvl2pPr>
            <a:lvl3pPr marL="914049" indent="0">
              <a:buNone/>
              <a:defRPr sz="1800" b="1"/>
            </a:lvl3pPr>
            <a:lvl4pPr marL="1371074" indent="0">
              <a:buNone/>
              <a:defRPr sz="1600" b="1"/>
            </a:lvl4pPr>
            <a:lvl5pPr marL="1828098" indent="0">
              <a:buNone/>
              <a:defRPr sz="1600" b="1"/>
            </a:lvl5pPr>
            <a:lvl6pPr marL="2285122" indent="0">
              <a:buNone/>
              <a:defRPr sz="1600" b="1"/>
            </a:lvl6pPr>
            <a:lvl7pPr marL="2742147" indent="0">
              <a:buNone/>
              <a:defRPr sz="1600" b="1"/>
            </a:lvl7pPr>
            <a:lvl8pPr marL="3199171" indent="0">
              <a:buNone/>
              <a:defRPr sz="1600" b="1"/>
            </a:lvl8pPr>
            <a:lvl9pPr marL="365619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2"/>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defTabSz="914192">
              <a:defRPr/>
            </a:pPr>
            <a:fld id="{683C0046-3368-4DD4-96D6-CD0FF2C1233E}" type="datetimeFigureOut">
              <a:rPr lang="en-IN" smtClean="0">
                <a:solidFill>
                  <a:srgbClr val="FFFFFF"/>
                </a:solidFill>
              </a:rPr>
              <a:pPr defTabSz="914192">
                <a:defRPr/>
              </a:pPr>
              <a:t>05-02-2018</a:t>
            </a:fld>
            <a:endParaRPr lang="en-IN" dirty="0">
              <a:solidFill>
                <a:srgbClr val="FFFFFF"/>
              </a:solidFill>
            </a:endParaRPr>
          </a:p>
        </p:txBody>
      </p:sp>
      <p:sp>
        <p:nvSpPr>
          <p:cNvPr id="8" name="Footer Placeholder 7"/>
          <p:cNvSpPr>
            <a:spLocks noGrp="1"/>
          </p:cNvSpPr>
          <p:nvPr>
            <p:ph type="ftr" sz="quarter" idx="11"/>
          </p:nvPr>
        </p:nvSpPr>
        <p:spPr>
          <a:xfrm>
            <a:off x="685800" y="6554699"/>
            <a:ext cx="5029200" cy="228600"/>
          </a:xfrm>
          <a:prstGeom prst="rect">
            <a:avLst/>
          </a:prstGeom>
        </p:spPr>
        <p:txBody>
          <a:bodyPr/>
          <a:lstStyle/>
          <a:p>
            <a:pPr defTabSz="914192">
              <a:defRPr/>
            </a:pPr>
            <a:endParaRPr lang="en-IN" dirty="0">
              <a:solidFill>
                <a:srgbClr val="FFFFFF"/>
              </a:solidFill>
            </a:endParaRPr>
          </a:p>
        </p:txBody>
      </p:sp>
      <p:sp>
        <p:nvSpPr>
          <p:cNvPr id="9" name="Slide Number Placeholder 8"/>
          <p:cNvSpPr>
            <a:spLocks noGrp="1"/>
          </p:cNvSpPr>
          <p:nvPr>
            <p:ph type="sldNum" sz="quarter" idx="12"/>
          </p:nvPr>
        </p:nvSpPr>
        <p:spPr>
          <a:xfrm>
            <a:off x="8897422" y="6274160"/>
            <a:ext cx="2743200" cy="365125"/>
          </a:xfrm>
          <a:prstGeom prst="rect">
            <a:avLst/>
          </a:prstGeom>
        </p:spPr>
        <p:txBody>
          <a:bodyPr/>
          <a:lstStyle/>
          <a:p>
            <a:pPr defTabSz="914192">
              <a:defRPr/>
            </a:pPr>
            <a:fld id="{1F6B3001-8C1E-45A3-9010-27210849299D}" type="slidenum">
              <a:rPr lang="en-IN" smtClean="0">
                <a:solidFill>
                  <a:srgbClr val="FFFFFF"/>
                </a:solidFill>
              </a:rPr>
              <a:pPr defTabSz="914192">
                <a:defRPr/>
              </a:pPr>
              <a:t>‹#›</a:t>
            </a:fld>
            <a:endParaRPr lang="en-IN" dirty="0">
              <a:solidFill>
                <a:srgbClr val="FFFFFF"/>
              </a:solidFill>
            </a:endParaRPr>
          </a:p>
        </p:txBody>
      </p:sp>
    </p:spTree>
    <p:extLst>
      <p:ext uri="{BB962C8B-B14F-4D97-AF65-F5344CB8AC3E}">
        <p14:creationId xmlns:p14="http://schemas.microsoft.com/office/powerpoint/2010/main" val="36527287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145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8" y="6118657"/>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277135661"/>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771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defRPr/>
            </a:pPr>
            <a:fld id="{7EF3AE27-9587-4CE8-A505-987082E90C2E}" type="datetimeFigureOut">
              <a:rPr lang="en-US" sz="1200" smtClean="0">
                <a:solidFill>
                  <a:prstClr val="black">
                    <a:tint val="75000"/>
                  </a:prstClr>
                </a:solidFill>
                <a:latin typeface="Calibri" panose="020F0502020204030204"/>
              </a:rPr>
              <a:pPr defTabSz="914225">
                <a:defRPr/>
              </a:pPr>
              <a:t>2/5/2018</a:t>
            </a:fld>
            <a:endParaRPr lang="en-US" sz="1200">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algn="ctr" defTabSz="914225">
              <a:defRPr/>
            </a:pPr>
            <a:endParaRPr lang="en-US" sz="1200">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algn="r" defTabSz="914225">
              <a:defRPr/>
            </a:pPr>
            <a:fld id="{60A6484D-8F4C-4CC4-BE69-D164114A27CE}" type="slidenum">
              <a:rPr lang="en-US" sz="1200" smtClean="0">
                <a:solidFill>
                  <a:prstClr val="black">
                    <a:tint val="75000"/>
                  </a:prstClr>
                </a:solidFill>
                <a:latin typeface="Calibri" panose="020F0502020204030204"/>
              </a:rPr>
              <a:pPr algn="r" defTabSz="914225">
                <a:defRPr/>
              </a:pPr>
              <a:t>‹#›</a:t>
            </a:fld>
            <a:endParaRPr lang="en-US" sz="1200">
              <a:solidFill>
                <a:prstClr val="black">
                  <a:tint val="75000"/>
                </a:prstClr>
              </a:solidFill>
              <a:latin typeface="Calibri" panose="020F0502020204030204"/>
            </a:endParaRPr>
          </a:p>
        </p:txBody>
      </p:sp>
    </p:spTree>
    <p:extLst>
      <p:ext uri="{BB962C8B-B14F-4D97-AF65-F5344CB8AC3E}">
        <p14:creationId xmlns:p14="http://schemas.microsoft.com/office/powerpoint/2010/main" val="413310969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b="15721"/>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5"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60"/>
            <a:ext cx="1421436" cy="300619"/>
          </a:xfrm>
          <a:prstGeom prst="rect">
            <a:avLst/>
          </a:prstGeom>
        </p:spPr>
      </p:pic>
    </p:spTree>
    <p:extLst>
      <p:ext uri="{BB962C8B-B14F-4D97-AF65-F5344CB8AC3E}">
        <p14:creationId xmlns:p14="http://schemas.microsoft.com/office/powerpoint/2010/main" val="4157660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1157447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2478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36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8948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18193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1971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54879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3504" t="18112" r="51" b="323"/>
          <a:stretch/>
        </p:blipFill>
        <p:spPr>
          <a:xfrm>
            <a:off x="0" y="-25954"/>
            <a:ext cx="12192000" cy="6883955"/>
          </a:xfrm>
          <a:prstGeom prst="rect">
            <a:avLst/>
          </a:prstGeom>
        </p:spPr>
      </p:pic>
      <p:pic>
        <p:nvPicPr>
          <p:cNvPr id="5" name="Picture 4"/>
          <p:cNvPicPr>
            <a:picLocks noChangeAspect="1"/>
          </p:cNvPicPr>
          <p:nvPr userDrawn="1"/>
        </p:nvPicPr>
        <p:blipFill>
          <a:blip r:embed="rId3"/>
          <a:stretch>
            <a:fillRect/>
          </a:stretch>
        </p:blipFill>
        <p:spPr>
          <a:xfrm>
            <a:off x="450205" y="3133843"/>
            <a:ext cx="2993084" cy="641866"/>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6756210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29050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0" y="2234114"/>
            <a:ext cx="8375702"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250" y="4612344"/>
            <a:ext cx="5455754" cy="1144929"/>
          </a:xfrm>
        </p:spPr>
        <p:txBody>
          <a:bodyPr/>
          <a:lstStyle>
            <a:lvl1pPr marL="0" indent="0">
              <a:buFont typeface="Arial" pitchFamily="34" charset="0"/>
              <a:buNone/>
              <a:defRPr sz="2399">
                <a:solidFill>
                  <a:schemeClr val="bg1">
                    <a:alpha val="98000"/>
                  </a:schemeClr>
                </a:solidFill>
                <a:latin typeface="+mj-lt"/>
              </a:defRPr>
            </a:lvl1pPr>
            <a:lvl2pPr marL="460237" indent="0">
              <a:buFont typeface="Arial" pitchFamily="34" charset="0"/>
              <a:buNone/>
              <a:defRPr/>
            </a:lvl2pPr>
            <a:lvl3pPr marL="855406" indent="0">
              <a:buFont typeface="Arial" pitchFamily="34" charset="0"/>
              <a:buNone/>
              <a:defRPr/>
            </a:lvl3pPr>
            <a:lvl4pPr marL="1258510" indent="0">
              <a:buFont typeface="Arial" pitchFamily="34" charset="0"/>
              <a:buNone/>
              <a:defRPr/>
            </a:lvl4pPr>
            <a:lvl5pPr marL="1604482" indent="0">
              <a:buFont typeface="Arial" pitchFamily="34" charset="0"/>
              <a:buNone/>
              <a:defRPr/>
            </a:lvl5pPr>
          </a:lstStyle>
          <a:p>
            <a:pPr lvl="0"/>
            <a:r>
              <a:rPr lang="en-US" dirty="0"/>
              <a:t>Name</a:t>
            </a:r>
          </a:p>
          <a:p>
            <a:pPr lvl="0"/>
            <a:r>
              <a:rPr lang="en-US" dirty="0"/>
              <a:t>Title</a:t>
            </a:r>
          </a:p>
          <a:p>
            <a:pPr lvl="0"/>
            <a:r>
              <a:rPr lang="en-US" dirty="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888" y="98759"/>
            <a:ext cx="2498400" cy="574733"/>
          </a:xfrm>
          <a:prstGeom prst="rect">
            <a:avLst/>
          </a:prstGeom>
        </p:spPr>
      </p:pic>
    </p:spTree>
    <p:extLst>
      <p:ext uri="{BB962C8B-B14F-4D97-AF65-F5344CB8AC3E}">
        <p14:creationId xmlns:p14="http://schemas.microsoft.com/office/powerpoint/2010/main" val="116483390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ullet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图片 2"/>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2179447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2149424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43922932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6"/>
            <a:ext cx="5486400" cy="1945148"/>
          </a:xfrm>
        </p:spPr>
        <p:txBody>
          <a:bodyPr/>
          <a:lstStyle>
            <a:lvl1pPr marL="403104" indent="-403104">
              <a:buSzPct val="80000"/>
              <a:buFont typeface="Arial" pitchFamily="34" charset="0"/>
              <a:buChar char="•"/>
              <a:defRPr sz="2799"/>
            </a:lvl1pPr>
            <a:lvl2pPr marL="744315" indent="-322166">
              <a:buSzPct val="80000"/>
              <a:buFont typeface="Arial" pitchFamily="34" charset="0"/>
              <a:buChar char="•"/>
              <a:defRPr sz="2799"/>
            </a:lvl2pPr>
            <a:lvl3pPr marL="1026805" indent="-282490" defTabSz="1029979">
              <a:buSzPct val="80000"/>
              <a:buFont typeface="Arial" pitchFamily="34" charset="0"/>
              <a:buChar char="•"/>
              <a:defRPr sz="2399"/>
            </a:lvl3pPr>
            <a:lvl4pPr marL="1317230" indent="-287252">
              <a:buSzPct val="80000"/>
              <a:buFont typeface="Arial" pitchFamily="34" charset="0"/>
              <a:buChar char="•"/>
              <a:defRPr sz="1999"/>
            </a:lvl4pPr>
            <a:lvl5pPr marL="1541001" indent="-223771">
              <a:buSzPct val="80000"/>
              <a:buFont typeface="Arial" pitchFamily="34" charset="0"/>
              <a:buChar char="•"/>
              <a:defRPr sz="1999"/>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232" indent="-29623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3" indent="-457063">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45" indent="-34279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75" indent="-342797">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1087112" indent="-342797">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marL="1372775" indent="-342797">
              <a:defRPr sz="1600"/>
            </a:lvl6pPr>
            <a:lvl7pPr marL="1602894" indent="-285664">
              <a:defRPr sz="1600"/>
            </a:lvl7pPr>
            <a:lvl8pPr>
              <a:defRPr sz="1600"/>
            </a:lvl8pPr>
            <a:lvl9pPr>
              <a:defRPr sz="1600"/>
            </a:lvl9pPr>
          </a:lstStyle>
          <a:p>
            <a:pPr marL="403104" lvl="0" indent="-403104" algn="l" defTabSz="914089" rtl="0" eaLnBrk="1" latinLnBrk="0" hangingPunct="1">
              <a:lnSpc>
                <a:spcPct val="90000"/>
              </a:lnSpc>
              <a:spcBef>
                <a:spcPct val="20000"/>
              </a:spcBef>
              <a:buSzPct val="80000"/>
            </a:pPr>
            <a:r>
              <a:rPr lang="en-US"/>
              <a:t>Click to edit Master text styles</a:t>
            </a:r>
          </a:p>
          <a:p>
            <a:pPr marL="403104" lvl="1" indent="-403104" algn="l" defTabSz="914089" rtl="0" eaLnBrk="1" latinLnBrk="0" hangingPunct="1">
              <a:lnSpc>
                <a:spcPct val="90000"/>
              </a:lnSpc>
              <a:spcBef>
                <a:spcPct val="20000"/>
              </a:spcBef>
              <a:buSzPct val="80000"/>
            </a:pPr>
            <a:r>
              <a:rPr lang="en-US"/>
              <a:t>Second level</a:t>
            </a:r>
          </a:p>
          <a:p>
            <a:pPr marL="403104" lvl="2" indent="-403104" algn="l" defTabSz="914089" rtl="0" eaLnBrk="1" latinLnBrk="0" hangingPunct="1">
              <a:lnSpc>
                <a:spcPct val="90000"/>
              </a:lnSpc>
              <a:spcBef>
                <a:spcPct val="20000"/>
              </a:spcBef>
              <a:buSzPct val="80000"/>
            </a:pPr>
            <a:r>
              <a:rPr lang="en-US"/>
              <a:t>Third level</a:t>
            </a:r>
          </a:p>
          <a:p>
            <a:pPr marL="403104" lvl="3" indent="-403104" algn="l" defTabSz="914089" rtl="0" eaLnBrk="1" latinLnBrk="0" hangingPunct="1">
              <a:lnSpc>
                <a:spcPct val="90000"/>
              </a:lnSpc>
              <a:spcBef>
                <a:spcPct val="20000"/>
              </a:spcBef>
              <a:buSzPct val="80000"/>
            </a:pPr>
            <a:r>
              <a:rPr lang="en-US"/>
              <a:t>Fourth level</a:t>
            </a:r>
          </a:p>
          <a:p>
            <a:pPr marL="403104" lvl="4" indent="-403104" algn="l" defTabSz="914089" rtl="0" eaLnBrk="1" latinLnBrk="0" hangingPunct="1">
              <a:lnSpc>
                <a:spcPct val="90000"/>
              </a:lnSpc>
              <a:spcBef>
                <a:spcPct val="20000"/>
              </a:spcBef>
              <a:buSzPct val="80000"/>
            </a:pPr>
            <a:r>
              <a:rPr lang="en-US"/>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309967403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402997221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1021059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5860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70306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3474710"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a:t>Click to edit Master text styles</a:t>
            </a:r>
          </a:p>
          <a:p>
            <a:pPr marL="3174" lvl="1" indent="0" algn="l" defTabSz="914089" rtl="0" eaLnBrk="1" latinLnBrk="0" hangingPunct="1">
              <a:lnSpc>
                <a:spcPct val="90000"/>
              </a:lnSpc>
              <a:spcBef>
                <a:spcPts val="0"/>
              </a:spcBef>
              <a:spcAft>
                <a:spcPts val="900"/>
              </a:spcAft>
              <a:buSzPct val="80000"/>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262717896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357816482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621"/>
            <a:endParaRPr lang="en-US" sz="2399">
              <a:solidFill>
                <a:srgbClr val="292929"/>
              </a:solidFill>
            </a:endParaRPr>
          </a:p>
        </p:txBody>
      </p:sp>
    </p:spTree>
    <p:extLst>
      <p:ext uri="{BB962C8B-B14F-4D97-AF65-F5344CB8AC3E}">
        <p14:creationId xmlns:p14="http://schemas.microsoft.com/office/powerpoint/2010/main" val="250877400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grpSp>
    </p:spTree>
    <p:extLst>
      <p:ext uri="{BB962C8B-B14F-4D97-AF65-F5344CB8AC3E}">
        <p14:creationId xmlns:p14="http://schemas.microsoft.com/office/powerpoint/2010/main" val="376088817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a:t>click to…</a:t>
            </a:r>
          </a:p>
        </p:txBody>
      </p:sp>
      <p:sp>
        <p:nvSpPr>
          <p:cNvPr id="25" name="Freeform 64"/>
          <p:cNvSpPr>
            <a:spLocks noEditPoints="1"/>
          </p:cNvSpPr>
          <p:nvPr userDrawn="1"/>
        </p:nvSpPr>
        <p:spPr bwMode="black">
          <a:xfrm>
            <a:off x="7925674"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66253656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8885073"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48270619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7"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0965" y="6205154"/>
            <a:ext cx="2505601" cy="576390"/>
          </a:xfrm>
          <a:prstGeom prst="rect">
            <a:avLst/>
          </a:prstGeom>
        </p:spPr>
      </p:pic>
    </p:spTree>
    <p:extLst>
      <p:ext uri="{BB962C8B-B14F-4D97-AF65-F5344CB8AC3E}">
        <p14:creationId xmlns:p14="http://schemas.microsoft.com/office/powerpoint/2010/main" val="12521785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517" y="3169190"/>
            <a:ext cx="2436488"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grpSp>
      <p:sp>
        <p:nvSpPr>
          <p:cNvPr id="10" name="Text Box 3"/>
          <p:cNvSpPr txBox="1">
            <a:spLocks noChangeArrowheads="1"/>
          </p:cNvSpPr>
          <p:nvPr userDrawn="1"/>
        </p:nvSpPr>
        <p:spPr bwMode="blackWhite">
          <a:xfrm>
            <a:off x="1527293" y="4024007"/>
            <a:ext cx="8927142" cy="720585"/>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dirty="0">
                <a:gradFill>
                  <a:gsLst>
                    <a:gs pos="0">
                      <a:srgbClr val="292929"/>
                    </a:gs>
                    <a:gs pos="100000">
                      <a:srgbClr val="292929"/>
                    </a:gs>
                  </a:gsLst>
                  <a:lin ang="5400000" scaled="0"/>
                </a:gradFill>
                <a:cs typeface="Segoe UI" pitchFamily="34" charset="0"/>
              </a:rPr>
              <a:t>© 201</a:t>
            </a:r>
            <a:r>
              <a:rPr lang="en-US" altLang="zh-CN" sz="700" dirty="0">
                <a:gradFill>
                  <a:gsLst>
                    <a:gs pos="0">
                      <a:srgbClr val="292929"/>
                    </a:gs>
                    <a:gs pos="100000">
                      <a:srgbClr val="292929"/>
                    </a:gs>
                  </a:gsLst>
                  <a:lin ang="5400000" scaled="0"/>
                </a:gradFill>
                <a:cs typeface="Segoe UI" pitchFamily="34" charset="0"/>
              </a:rPr>
              <a:t>6</a:t>
            </a:r>
            <a:r>
              <a:rPr lang="en-US" sz="700" dirty="0">
                <a:gradFill>
                  <a:gsLst>
                    <a:gs pos="0">
                      <a:srgbClr val="292929"/>
                    </a:gs>
                    <a:gs pos="100000">
                      <a:srgbClr val="292929"/>
                    </a:gs>
                  </a:gsLst>
                  <a:lin ang="5400000" scaled="0"/>
                </a:gradFill>
                <a:cs typeface="Segoe UI" pitchFamily="34" charset="0"/>
              </a:rPr>
              <a:t> 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95220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799"/>
            <a:ext cx="11151917"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460515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5" y="5912756"/>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3" y="649721"/>
            <a:ext cx="10255939" cy="5104275"/>
          </a:xfrm>
          <a:prstGeom prst="rect">
            <a:avLst/>
          </a:prstGeom>
        </p:spPr>
      </p:pic>
    </p:spTree>
    <p:extLst>
      <p:ext uri="{BB962C8B-B14F-4D97-AF65-F5344CB8AC3E}">
        <p14:creationId xmlns:p14="http://schemas.microsoft.com/office/powerpoint/2010/main" val="13042310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799"/>
            <a:ext cx="11151917"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9"/>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407028653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a:solidFill>
                  <a:schemeClr val="tx1">
                    <a:alpha val="99000"/>
                  </a:schemeClr>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3999">
                <a:solidFill>
                  <a:schemeClr val="tx1">
                    <a:alpha val="99000"/>
                  </a:schemeClr>
                </a:solidFill>
              </a:defRPr>
            </a:lvl1pPr>
            <a:lvl2pPr marL="284077" marR="0" indent="0" algn="l" defTabSz="914089"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370" indent="0">
              <a:buFont typeface="Wingdings" pitchFamily="2" charset="2"/>
              <a:buNone/>
              <a:tabLst/>
              <a:defRPr>
                <a:solidFill>
                  <a:schemeClr val="tx1">
                    <a:alpha val="99000"/>
                  </a:schemeClr>
                </a:solidFill>
                <a:latin typeface="+mn-lt"/>
              </a:defRPr>
            </a:lvl3pPr>
            <a:lvl4pPr marL="741140" indent="0">
              <a:buFont typeface="Wingdings" pitchFamily="2" charset="2"/>
              <a:buNone/>
              <a:defRPr>
                <a:solidFill>
                  <a:schemeClr val="tx1">
                    <a:alpha val="99000"/>
                  </a:schemeClr>
                </a:solidFill>
                <a:latin typeface="+mn-lt"/>
              </a:defRPr>
            </a:lvl4pPr>
            <a:lvl5pPr marL="914126" indent="0">
              <a:buFont typeface="Wingdings" pitchFamily="2" charset="2"/>
              <a:buNone/>
              <a:tabLst/>
              <a:defRPr>
                <a:solidFill>
                  <a:schemeClr val="tx1">
                    <a:alpha val="99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22706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609007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4R Pitch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4311650"/>
          </a:xfrm>
          <a:prstGeom prst="rect">
            <a:avLst/>
          </a:prstGeom>
        </p:spPr>
      </p:pic>
      <p:sp>
        <p:nvSpPr>
          <p:cNvPr id="4" name="TextBox 3"/>
          <p:cNvSpPr txBox="1"/>
          <p:nvPr userDrawn="1"/>
        </p:nvSpPr>
        <p:spPr>
          <a:xfrm>
            <a:off x="376663" y="260594"/>
            <a:ext cx="7185672" cy="1526572"/>
          </a:xfrm>
          <a:prstGeom prst="rect">
            <a:avLst/>
          </a:prstGeom>
          <a:noFill/>
        </p:spPr>
        <p:txBody>
          <a:bodyPr wrap="square" lIns="0" tIns="0" rIns="0" bIns="0" rtlCol="0">
            <a:spAutoFit/>
          </a:bodyPr>
          <a:lstStyle/>
          <a:p>
            <a:r>
              <a:rPr lang="en-US" sz="4000" dirty="0">
                <a:solidFill>
                  <a:schemeClr val="bg1"/>
                </a:solidFill>
                <a:latin typeface="Segoe UI Light" panose="020B0502040204020203" pitchFamily="34" charset="0"/>
              </a:rPr>
              <a:t>Microsoft Azure for Research </a:t>
            </a:r>
          </a:p>
          <a:p>
            <a:r>
              <a:rPr lang="en-US" sz="2400" dirty="0">
                <a:solidFill>
                  <a:schemeClr val="bg1"/>
                </a:solidFill>
              </a:rPr>
              <a:t>Accelerate the Speed of Scientific Discovery </a:t>
            </a:r>
          </a:p>
          <a:p>
            <a:pPr>
              <a:lnSpc>
                <a:spcPct val="90000"/>
              </a:lnSpc>
              <a:spcBef>
                <a:spcPct val="20000"/>
              </a:spcBef>
              <a:buClr>
                <a:srgbClr val="4E90CD"/>
              </a:buClr>
              <a:buSzPct val="120000"/>
            </a:pPr>
            <a:endParaRPr lang="en-US" sz="3200" dirty="0" err="1">
              <a:solidFill>
                <a:schemeClr val="bg1"/>
              </a:solidFill>
              <a:latin typeface="Segoe UI Light" pitchFamily="34" charset="0"/>
            </a:endParaRPr>
          </a:p>
        </p:txBody>
      </p:sp>
      <p:sp>
        <p:nvSpPr>
          <p:cNvPr id="5" name="Rectangle 4"/>
          <p:cNvSpPr/>
          <p:nvPr userDrawn="1"/>
        </p:nvSpPr>
        <p:spPr>
          <a:xfrm>
            <a:off x="279908" y="1455951"/>
            <a:ext cx="5800280" cy="917971"/>
          </a:xfrm>
          <a:prstGeom prst="rect">
            <a:avLst/>
          </a:prstGeom>
        </p:spPr>
        <p:txBody>
          <a:bodyPr wrap="square">
            <a:spAutoFit/>
          </a:bodyPr>
          <a:lstStyle/>
          <a:p>
            <a:r>
              <a:rPr lang="en-US" altLang="zh-CN" sz="2000" kern="1800" baseline="30000" dirty="0">
                <a:solidFill>
                  <a:schemeClr val="bg1"/>
                </a:solidFill>
                <a:latin typeface="Segoe UI" panose="020B0502040204020203" pitchFamily="34" charset="0"/>
                <a:ea typeface="Segoe UI" panose="020B0502040204020203" pitchFamily="34" charset="0"/>
                <a:cs typeface="Segoe UI" panose="020B0502040204020203" pitchFamily="34" charset="0"/>
              </a:rPr>
              <a:t>Microsoft A</a:t>
            </a:r>
            <a:r>
              <a:rPr lang="en-US" sz="2000" kern="1800" baseline="30000" dirty="0">
                <a:solidFill>
                  <a:schemeClr val="bg1"/>
                </a:solidFill>
                <a:latin typeface="Segoe UI" panose="020B0502040204020203" pitchFamily="34" charset="0"/>
                <a:ea typeface="Segoe UI" panose="020B0502040204020203" pitchFamily="34" charset="0"/>
                <a:cs typeface="Segoe UI" panose="020B0502040204020203" pitchFamily="34" charset="0"/>
              </a:rPr>
              <a:t>zure provides researchers with the power and scalability of cloud computing for collaboration, computation, and data-intensive processing. This open and flexible global cloud platform supports any language, tool, or framework. </a:t>
            </a:r>
            <a:r>
              <a:rPr lang="en-US" kern="1800" baseline="30000" dirty="0">
                <a:solidFill>
                  <a:schemeClr val="bg1"/>
                </a:solidFill>
                <a:latin typeface="Segoe UI" panose="020B0502040204020203" pitchFamily="34" charset="0"/>
                <a:ea typeface="Segoe UI" panose="020B0502040204020203" pitchFamily="34" charset="0"/>
                <a:cs typeface="Segoe UI" panose="020B0502040204020203" pitchFamily="34" charset="0"/>
              </a:rPr>
              <a:t> </a:t>
            </a:r>
            <a:r>
              <a:rPr lang="en-US" kern="1600" baseline="30000" dirty="0">
                <a:solidFill>
                  <a:schemeClr val="bg1"/>
                </a:solidFill>
                <a:latin typeface="Segoe UI" panose="020B0502040204020203" pitchFamily="34" charset="0"/>
                <a:ea typeface="Segoe UI" panose="020B0502040204020203" pitchFamily="34" charset="0"/>
                <a:cs typeface="Segoe UI" panose="020B0502040204020203" pitchFamily="34" charset="0"/>
              </a:rPr>
              <a:t> </a:t>
            </a:r>
          </a:p>
        </p:txBody>
      </p:sp>
      <p:sp>
        <p:nvSpPr>
          <p:cNvPr id="6" name="Rectangle 5"/>
          <p:cNvSpPr/>
          <p:nvPr userDrawn="1"/>
        </p:nvSpPr>
        <p:spPr>
          <a:xfrm>
            <a:off x="279908" y="4484641"/>
            <a:ext cx="5800280" cy="420628"/>
          </a:xfrm>
          <a:prstGeom prst="rect">
            <a:avLst/>
          </a:prstGeom>
        </p:spPr>
        <p:txBody>
          <a:bodyPr wrap="square">
            <a:spAutoFit/>
          </a:bodyPr>
          <a:lstStyle/>
          <a:p>
            <a:r>
              <a:rPr lang="en-US" sz="3200" baseline="30000" dirty="0">
                <a:solidFill>
                  <a:srgbClr val="C60651"/>
                </a:solidFill>
                <a:latin typeface="Segoe UI Semibold" panose="020B0702040204020203" pitchFamily="34" charset="0"/>
              </a:rPr>
              <a:t>The Microsoft Azure for Research program:</a:t>
            </a:r>
            <a:endParaRPr lang="en-US" sz="3200" baseline="30000" dirty="0">
              <a:solidFill>
                <a:srgbClr val="C60651"/>
              </a:solidFill>
              <a:latin typeface="Segoe UI Light" panose="020B0502040204020203" pitchFamily="34" charset="0"/>
            </a:endParaRPr>
          </a:p>
        </p:txBody>
      </p:sp>
      <p:sp>
        <p:nvSpPr>
          <p:cNvPr id="7" name="Rectangle 6"/>
          <p:cNvSpPr/>
          <p:nvPr userDrawn="1"/>
        </p:nvSpPr>
        <p:spPr>
          <a:xfrm>
            <a:off x="329336" y="4734289"/>
            <a:ext cx="5682266" cy="1195199"/>
          </a:xfrm>
          <a:prstGeom prst="rect">
            <a:avLst/>
          </a:prstGeom>
        </p:spPr>
        <p:txBody>
          <a:bodyPr wrap="square">
            <a:spAutoFit/>
          </a:bodyPr>
          <a:lstStyle/>
          <a:p>
            <a:r>
              <a:rPr lang="en-US" sz="2000" b="1" baseline="30000" dirty="0">
                <a:solidFill>
                  <a:srgbClr val="C60651"/>
                </a:solidFill>
                <a:latin typeface="Segoe UI" panose="020B0502040204020203" pitchFamily="34" charset="0"/>
              </a:rPr>
              <a:t>·</a:t>
            </a:r>
            <a:r>
              <a:rPr lang="en-US" sz="2000" baseline="30000" dirty="0">
                <a:solidFill>
                  <a:srgbClr val="C60651"/>
                </a:solidFill>
                <a:latin typeface="Segoe UI Light" panose="020B0502040204020203" pitchFamily="34" charset="0"/>
              </a:rPr>
              <a:t>  </a:t>
            </a:r>
            <a:r>
              <a:rPr lang="en-US" sz="2000" baseline="30000" dirty="0">
                <a:solidFill>
                  <a:srgbClr val="717073"/>
                </a:solidFill>
              </a:rPr>
              <a:t>Free access to Microsoft Azure cloud computing and storage  </a:t>
            </a:r>
            <a:r>
              <a:rPr lang="en-US" sz="2000" dirty="0">
                <a:solidFill>
                  <a:srgbClr val="717073"/>
                </a:solidFill>
              </a:rPr>
              <a:t>    </a:t>
            </a:r>
          </a:p>
          <a:p>
            <a:pPr>
              <a:spcAft>
                <a:spcPts val="600"/>
              </a:spcAft>
            </a:pPr>
            <a:r>
              <a:rPr lang="en-US" sz="2000" baseline="30000" dirty="0">
                <a:solidFill>
                  <a:srgbClr val="717073"/>
                </a:solidFill>
              </a:rPr>
              <a:t>   (submit proposals for </a:t>
            </a:r>
            <a:r>
              <a:rPr lang="en-US" altLang="zh-CN" sz="2000" baseline="30000" dirty="0">
                <a:solidFill>
                  <a:srgbClr val="717073"/>
                </a:solidFill>
              </a:rPr>
              <a:t>Microsoft </a:t>
            </a:r>
            <a:r>
              <a:rPr lang="en-US" sz="2000" baseline="30000" dirty="0">
                <a:solidFill>
                  <a:srgbClr val="717073"/>
                </a:solidFill>
              </a:rPr>
              <a:t>Azure Research Awards)</a:t>
            </a:r>
          </a:p>
          <a:p>
            <a:r>
              <a:rPr lang="en-US" sz="2000" b="1" baseline="30000" dirty="0">
                <a:solidFill>
                  <a:srgbClr val="C60651"/>
                </a:solidFill>
              </a:rPr>
              <a:t>·</a:t>
            </a:r>
            <a:r>
              <a:rPr lang="en-US" sz="2000" baseline="30000" dirty="0">
                <a:solidFill>
                  <a:srgbClr val="C60651"/>
                </a:solidFill>
              </a:rPr>
              <a:t>  </a:t>
            </a:r>
            <a:r>
              <a:rPr lang="en-US" altLang="zh-CN" sz="2000" baseline="30000" dirty="0">
                <a:solidFill>
                  <a:srgbClr val="717073"/>
                </a:solidFill>
              </a:rPr>
              <a:t>Microsoft </a:t>
            </a:r>
            <a:r>
              <a:rPr lang="en-US" sz="2000" baseline="30000" dirty="0">
                <a:solidFill>
                  <a:srgbClr val="717073"/>
                </a:solidFill>
              </a:rPr>
              <a:t>Azure for Research training classes </a:t>
            </a:r>
          </a:p>
          <a:p>
            <a:r>
              <a:rPr lang="en-US" sz="2000" b="1" baseline="30000" dirty="0">
                <a:solidFill>
                  <a:srgbClr val="C60651"/>
                </a:solidFill>
              </a:rPr>
              <a:t>·</a:t>
            </a:r>
            <a:r>
              <a:rPr lang="en-US" sz="2000" baseline="30000" dirty="0">
                <a:solidFill>
                  <a:srgbClr val="C60651"/>
                </a:solidFill>
              </a:rPr>
              <a:t>  </a:t>
            </a:r>
            <a:r>
              <a:rPr lang="en-US" sz="2000" baseline="30000" dirty="0">
                <a:solidFill>
                  <a:srgbClr val="717073"/>
                </a:solidFill>
              </a:rPr>
              <a:t>Support and technical resources</a:t>
            </a:r>
            <a:endParaRPr lang="en-US" sz="2000" dirty="0"/>
          </a:p>
        </p:txBody>
      </p:sp>
      <p:sp>
        <p:nvSpPr>
          <p:cNvPr id="8" name="Rectangle 7"/>
          <p:cNvSpPr/>
          <p:nvPr userDrawn="1"/>
        </p:nvSpPr>
        <p:spPr>
          <a:xfrm>
            <a:off x="279908" y="6067160"/>
            <a:ext cx="11261967" cy="338554"/>
          </a:xfrm>
          <a:prstGeom prst="rect">
            <a:avLst/>
          </a:prstGeom>
        </p:spPr>
        <p:txBody>
          <a:bodyPr wrap="square">
            <a:spAutoFit/>
          </a:bodyPr>
          <a:lstStyle/>
          <a:p>
            <a:r>
              <a:rPr lang="en-US" sz="2400" baseline="30000" dirty="0">
                <a:solidFill>
                  <a:srgbClr val="717073"/>
                </a:solidFill>
              </a:rPr>
              <a:t>Apply the power of cloud computing to your computational and data challenges. Experiment at </a:t>
            </a:r>
            <a:r>
              <a:rPr lang="en-US" sz="2400" baseline="30000" dirty="0">
                <a:solidFill>
                  <a:srgbClr val="5191CD"/>
                </a:solidFill>
                <a:latin typeface="Segoe UI Semibold" panose="020B0702040204020203" pitchFamily="34" charset="0"/>
              </a:rPr>
              <a:t>azure4research.com.</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86292" y="6532685"/>
            <a:ext cx="3205707" cy="325315"/>
          </a:xfrm>
          <a:prstGeom prst="rect">
            <a:avLst/>
          </a:prstGeom>
        </p:spPr>
      </p:pic>
      <p:pic>
        <p:nvPicPr>
          <p:cNvPr id="10" name="图片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5626" y="3297217"/>
            <a:ext cx="2473200" cy="568936"/>
          </a:xfrm>
          <a:prstGeom prst="rect">
            <a:avLst/>
          </a:prstGeom>
        </p:spPr>
      </p:pic>
    </p:spTree>
    <p:extLst>
      <p:ext uri="{BB962C8B-B14F-4D97-AF65-F5344CB8AC3E}">
        <p14:creationId xmlns:p14="http://schemas.microsoft.com/office/powerpoint/2010/main" val="147106624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1099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36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116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6854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5403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78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12613"/>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9" y="1366955"/>
            <a:ext cx="7231699" cy="3599141"/>
          </a:xfrm>
          <a:prstGeom prst="rect">
            <a:avLst/>
          </a:prstGeom>
        </p:spPr>
      </p:pic>
    </p:spTree>
    <p:extLst>
      <p:ext uri="{BB962C8B-B14F-4D97-AF65-F5344CB8AC3E}">
        <p14:creationId xmlns:p14="http://schemas.microsoft.com/office/powerpoint/2010/main" val="739123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99007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3638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2683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9191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8576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377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647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39445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80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47594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Tree>
    <p:extLst>
      <p:ext uri="{BB962C8B-B14F-4D97-AF65-F5344CB8AC3E}">
        <p14:creationId xmlns:p14="http://schemas.microsoft.com/office/powerpoint/2010/main" val="1539652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12613"/>
            <a:ext cx="1075699" cy="205873"/>
          </a:xfrm>
          <a:prstGeom prst="rect">
            <a:avLst/>
          </a:prstGeom>
        </p:spPr>
      </p:pic>
    </p:spTree>
    <p:extLst>
      <p:ext uri="{BB962C8B-B14F-4D97-AF65-F5344CB8AC3E}">
        <p14:creationId xmlns:p14="http://schemas.microsoft.com/office/powerpoint/2010/main" val="40050832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9554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0664216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67489"/>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698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1494682"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56148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p>
        </p:txBody>
      </p:sp>
    </p:spTree>
    <p:extLst>
      <p:ext uri="{BB962C8B-B14F-4D97-AF65-F5344CB8AC3E}">
        <p14:creationId xmlns:p14="http://schemas.microsoft.com/office/powerpoint/2010/main" val="9800874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
        <p:nvSpPr>
          <p:cNvPr id="3" name="Text Placeholder 2">
            <a:extLst>
              <a:ext uri="{FF2B5EF4-FFF2-40B4-BE49-F238E27FC236}">
                <a16:creationId xmlns:a16="http://schemas.microsoft.com/office/drawing/2014/main" id="{47D21F7F-CA5F-4609-9E53-094261A2A868}"/>
              </a:ext>
            </a:extLst>
          </p:cNvPr>
          <p:cNvSpPr>
            <a:spLocks noGrp="1"/>
          </p:cNvSpPr>
          <p:nvPr>
            <p:ph type="body" sz="quarter" idx="13" hasCustomPrompt="1"/>
          </p:nvPr>
        </p:nvSpPr>
        <p:spPr>
          <a:xfrm>
            <a:off x="7888830" y="285842"/>
            <a:ext cx="3944254" cy="543185"/>
          </a:xfrm>
          <a:noFill/>
        </p:spPr>
        <p:txBody>
          <a:bodyPr vert="horz" wrap="square" lIns="164592" tIns="109728" rIns="164592" bIns="109728" rtlCol="0">
            <a:spAutoFit/>
          </a:bodyPr>
          <a:lstStyle>
            <a:lvl1pPr marL="0" indent="0" algn="r">
              <a:buNone/>
              <a:defRPr lang="en-US" sz="2353" dirty="0">
                <a:gradFill>
                  <a:gsLst>
                    <a:gs pos="91000">
                      <a:schemeClr val="tx1"/>
                    </a:gs>
                    <a:gs pos="0">
                      <a:schemeClr val="tx1"/>
                    </a:gs>
                  </a:gsLst>
                  <a:lin ang="5400000" scaled="0"/>
                </a:gradFill>
                <a:latin typeface="+mn-lt"/>
              </a:defRPr>
            </a:lvl1pPr>
          </a:lstStyle>
          <a:p>
            <a:pPr marL="224097" lvl="0" indent="-224097">
              <a:spcBef>
                <a:spcPts val="0"/>
              </a:spcBef>
            </a:pPr>
            <a:r>
              <a:rPr lang="en-US" dirty="0"/>
              <a:t>Session Code</a:t>
            </a:r>
          </a:p>
        </p:txBody>
      </p:sp>
    </p:spTree>
    <p:extLst>
      <p:ext uri="{BB962C8B-B14F-4D97-AF65-F5344CB8AC3E}">
        <p14:creationId xmlns:p14="http://schemas.microsoft.com/office/powerpoint/2010/main" val="2618068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BFD0D1-7DED-437D-AF4F-67E5173ABE1C}" type="datetimeFigureOut">
              <a:rPr lang="en-US" smtClean="0"/>
              <a:t>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15034258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BFD0D1-7DED-437D-AF4F-67E5173ABE1C}" type="datetimeFigureOut">
              <a:rPr lang="en-US" smtClean="0"/>
              <a:t>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291090292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ABFD0D1-7DED-437D-AF4F-67E5173ABE1C}" type="datetimeFigureOut">
              <a:rPr lang="en-US" smtClean="0"/>
              <a:t>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66683926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ABFD0D1-7DED-437D-AF4F-67E5173ABE1C}" type="datetimeFigureOut">
              <a:rPr lang="en-US" smtClean="0"/>
              <a:t>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9701897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671734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ABFD0D1-7DED-437D-AF4F-67E5173ABE1C}" type="datetimeFigureOut">
              <a:rPr lang="en-US" smtClean="0"/>
              <a:t>2/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340386192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ABFD0D1-7DED-437D-AF4F-67E5173ABE1C}" type="datetimeFigureOut">
              <a:rPr lang="en-US" smtClean="0"/>
              <a:t>2/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8972936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ABFD0D1-7DED-437D-AF4F-67E5173ABE1C}" type="datetimeFigureOut">
              <a:rPr lang="en-US" smtClean="0"/>
              <a:t>2/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12682652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BFD0D1-7DED-437D-AF4F-67E5173ABE1C}" type="datetimeFigureOut">
              <a:rPr lang="en-US" smtClean="0"/>
              <a:t>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189824093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BFD0D1-7DED-437D-AF4F-67E5173ABE1C}" type="datetimeFigureOut">
              <a:rPr lang="en-US" smtClean="0"/>
              <a:t>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243774976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BFD0D1-7DED-437D-AF4F-67E5173ABE1C}" type="datetimeFigureOut">
              <a:rPr lang="en-US" smtClean="0"/>
              <a:t>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284881563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BFD0D1-7DED-437D-AF4F-67E5173ABE1C}" type="datetimeFigureOut">
              <a:rPr lang="en-US" smtClean="0"/>
              <a:t>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150398458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403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7916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7" name="Picture 6" descr="Section header-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204359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7115090"/>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907777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441497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821105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8833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931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66453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556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06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152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048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76117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96117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39513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3078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369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555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71905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598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1280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16450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46" y="4168247"/>
            <a:ext cx="12191655" cy="2689754"/>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2" tIns="44821" rIns="89642" bIns="44821" numCol="1" anchor="t" anchorCtr="0" compatLnSpc="1">
            <a:prstTxWarp prst="textNoShape">
              <a:avLst/>
            </a:prstTxWarp>
            <a:noAutofit/>
          </a:bodyPr>
          <a:lstStyle/>
          <a:p>
            <a:endParaRPr lang="en-US" sz="1765">
              <a:solidFill>
                <a:srgbClr val="FFFFFF"/>
              </a:solidFill>
            </a:endParaRPr>
          </a:p>
        </p:txBody>
      </p:sp>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41" name="Group 140"/>
          <p:cNvGrpSpPr>
            <a:grpSpLocks noChangeAspect="1"/>
          </p:cNvGrpSpPr>
          <p:nvPr userDrawn="1"/>
        </p:nvGrpSpPr>
        <p:grpSpPr bwMode="gray">
          <a:xfrm>
            <a:off x="7315750" y="3137933"/>
            <a:ext cx="4487478"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grpSp>
    </p:spTree>
    <p:extLst>
      <p:ext uri="{BB962C8B-B14F-4D97-AF65-F5344CB8AC3E}">
        <p14:creationId xmlns:p14="http://schemas.microsoft.com/office/powerpoint/2010/main" val="3083526502"/>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820210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46" y="4168247"/>
            <a:ext cx="12191655" cy="2689754"/>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2" tIns="44821" rIns="89642" bIns="44821" numCol="1" anchor="t" anchorCtr="0" compatLnSpc="1">
            <a:prstTxWarp prst="textNoShape">
              <a:avLst/>
            </a:prstTxWarp>
            <a:noAutofit/>
          </a:bodyPr>
          <a:lstStyle/>
          <a:p>
            <a:endParaRPr lang="en-US" sz="1765">
              <a:solidFill>
                <a:srgbClr val="FFFFFF"/>
              </a:solidFill>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41" name="Group 140"/>
          <p:cNvGrpSpPr>
            <a:grpSpLocks noChangeAspect="1"/>
          </p:cNvGrpSpPr>
          <p:nvPr userDrawn="1"/>
        </p:nvGrpSpPr>
        <p:grpSpPr bwMode="gray">
          <a:xfrm>
            <a:off x="7315750" y="3137933"/>
            <a:ext cx="4487478"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FFFFFF"/>
                </a:solidFill>
              </a:endParaRPr>
            </a:p>
          </p:txBody>
        </p:sp>
      </p:grpSp>
    </p:spTree>
    <p:extLst>
      <p:ext uri="{BB962C8B-B14F-4D97-AF65-F5344CB8AC3E}">
        <p14:creationId xmlns:p14="http://schemas.microsoft.com/office/powerpoint/2010/main" val="4219519202"/>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2" tIns="44821" rIns="89642" bIns="44821" numCol="1" anchor="t" anchorCtr="0" compatLnSpc="1">
            <a:prstTxWarp prst="textNoShape">
              <a:avLst/>
            </a:prstTxWarp>
            <a:noAutofit/>
          </a:bodyPr>
          <a:lstStyle/>
          <a:p>
            <a:endParaRPr lang="en-US" sz="1765">
              <a:solidFill>
                <a:srgbClr val="353535"/>
              </a:solidFill>
            </a:endParaRPr>
          </a:p>
        </p:txBody>
      </p:sp>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43" name="Group 142"/>
          <p:cNvGrpSpPr>
            <a:grpSpLocks noChangeAspect="1"/>
          </p:cNvGrpSpPr>
          <p:nvPr userDrawn="1"/>
        </p:nvGrpSpPr>
        <p:grpSpPr bwMode="gray">
          <a:xfrm>
            <a:off x="7315750" y="3137933"/>
            <a:ext cx="4487478"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rgbClr val="353535"/>
                </a:solidFill>
              </a:endParaRPr>
            </a:p>
          </p:txBody>
        </p:sp>
      </p:grpSp>
    </p:spTree>
    <p:extLst>
      <p:ext uri="{BB962C8B-B14F-4D97-AF65-F5344CB8AC3E}">
        <p14:creationId xmlns:p14="http://schemas.microsoft.com/office/powerpoint/2010/main" val="3303434554"/>
      </p:ext>
    </p:extLst>
  </p:cSld>
  <p:clrMapOvr>
    <a:overrideClrMapping bg1="lt1" tx1="dk1" bg2="lt2" tx2="dk2" accent1="accent1" accent2="accent2" accent3="accent3" accent4="accent4" accent5="accent5" accent6="accent6" hlink="hlink" folHlink="folHlink"/>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847322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319018"/>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7985347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53748280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0549725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3839881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7688320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206559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035084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4611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ext uri="{BB962C8B-B14F-4D97-AF65-F5344CB8AC3E}">
        <p14:creationId xmlns:p14="http://schemas.microsoft.com/office/powerpoint/2010/main" val="412387455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06364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8877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727190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06077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4271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513510"/>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EABFD0D1-7DED-437D-AF4F-67E5173ABE1C}" type="datetimeFigureOut">
              <a:rPr lang="en-US" smtClean="0"/>
              <a:t>2/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B9056BD5-DA9F-4A48-A52F-4CA33E577EC4}" type="slidenum">
              <a:rPr lang="en-US" smtClean="0"/>
              <a:t>‹#›</a:t>
            </a:fld>
            <a:endParaRPr lang="en-US"/>
          </a:p>
        </p:txBody>
      </p:sp>
    </p:spTree>
    <p:extLst>
      <p:ext uri="{BB962C8B-B14F-4D97-AF65-F5344CB8AC3E}">
        <p14:creationId xmlns:p14="http://schemas.microsoft.com/office/powerpoint/2010/main" val="1849887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solidFill>
                  <a:schemeClr val="tx1"/>
                </a:solidFill>
              </a:defRPr>
            </a:lvl1pPr>
          </a:lstStyle>
          <a:p>
            <a:r>
              <a:rPr lang="en-US"/>
              <a:t>Lorem ipsum</a:t>
            </a:r>
          </a:p>
        </p:txBody>
      </p:sp>
    </p:spTree>
    <p:extLst>
      <p:ext uri="{BB962C8B-B14F-4D97-AF65-F5344CB8AC3E}">
        <p14:creationId xmlns:p14="http://schemas.microsoft.com/office/powerpoint/2010/main" val="32157303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510494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3358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4983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144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506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8177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919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58924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8093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595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532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62600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FFFFFF"/>
                    </a:gs>
                    <a:gs pos="100000">
                      <a:srgbClr val="FFFFFF"/>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9017583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25678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645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18040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12272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6" name="Slide Number Placeholder 5"/>
          <p:cNvSpPr>
            <a:spLocks noGrp="1"/>
          </p:cNvSpPr>
          <p:nvPr>
            <p:ph type="sldNum" sz="quarter" idx="12"/>
          </p:nvPr>
        </p:nvSpPr>
        <p:spPr>
          <a:xfrm>
            <a:off x="11367171" y="6437748"/>
            <a:ext cx="555597" cy="133860"/>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3"/>
              </a:spcBef>
              <a:spcAft>
                <a:spcPts val="2353"/>
              </a:spcAft>
              <a:buFontTx/>
              <a:buNone/>
              <a:defRPr lang="en-US" sz="5095" b="0" i="0" kern="1200" spc="0" baseline="0" dirty="0" smtClean="0">
                <a:solidFill>
                  <a:schemeClr val="tx2"/>
                </a:solidFill>
                <a:latin typeface="+mj-lt"/>
                <a:ea typeface="+mn-ea"/>
                <a:cs typeface="+mn-cs"/>
              </a:defRPr>
            </a:lvl1pPr>
          </a:lstStyle>
          <a:p>
            <a:pPr marL="0" marR="0" lvl="0" indent="0" algn="l" defTabSz="913841" rtl="0" eaLnBrk="1" fontAlgn="auto" latinLnBrk="0" hangingPunct="1">
              <a:lnSpc>
                <a:spcPct val="90000"/>
              </a:lnSpc>
              <a:spcBef>
                <a:spcPts val="1173"/>
              </a:spcBef>
              <a:spcAft>
                <a:spcPts val="2353"/>
              </a:spcAft>
              <a:buClrTx/>
              <a:buSzPct val="90000"/>
              <a:buFontTx/>
              <a:buNone/>
              <a:tabLst/>
            </a:pPr>
            <a:r>
              <a:rPr lang="en-US"/>
              <a:t>Click to edit Master text</a:t>
            </a:r>
          </a:p>
        </p:txBody>
      </p:sp>
    </p:spTree>
    <p:extLst>
      <p:ext uri="{BB962C8B-B14F-4D97-AF65-F5344CB8AC3E}">
        <p14:creationId xmlns:p14="http://schemas.microsoft.com/office/powerpoint/2010/main" val="1081586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4" name="Slide Number Placeholder 3"/>
          <p:cNvSpPr>
            <a:spLocks noGrp="1"/>
          </p:cNvSpPr>
          <p:nvPr>
            <p:ph type="sldNum" sz="quarter" idx="11"/>
          </p:nvPr>
        </p:nvSpPr>
        <p:spPr>
          <a:xfrm>
            <a:off x="11367171" y="6437748"/>
            <a:ext cx="555597" cy="133860"/>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3"/>
              </a:spcBef>
              <a:spcAft>
                <a:spcPts val="2353"/>
              </a:spcAft>
              <a:buFontTx/>
              <a:buNone/>
              <a:defRPr lang="en-US" sz="5095" b="0" i="0" kern="1200" spc="0" baseline="0" dirty="0" smtClean="0">
                <a:solidFill>
                  <a:schemeClr val="tx2"/>
                </a:solidFill>
                <a:latin typeface="+mj-lt"/>
                <a:ea typeface="+mn-ea"/>
                <a:cs typeface="+mn-cs"/>
              </a:defRPr>
            </a:lvl1pPr>
          </a:lstStyle>
          <a:p>
            <a:pPr marL="0" marR="0" lvl="0" indent="0" algn="l" defTabSz="913841" rtl="0" eaLnBrk="1" fontAlgn="auto" latinLnBrk="0" hangingPunct="1">
              <a:lnSpc>
                <a:spcPct val="90000"/>
              </a:lnSpc>
              <a:spcBef>
                <a:spcPts val="1173"/>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3" y="1117578"/>
            <a:ext cx="10816237" cy="588449"/>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696245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6" name="Slide Number Placeholder 5"/>
          <p:cNvSpPr>
            <a:spLocks noGrp="1"/>
          </p:cNvSpPr>
          <p:nvPr>
            <p:ph type="sldNum" sz="quarter" idx="12"/>
          </p:nvPr>
        </p:nvSpPr>
        <p:spPr>
          <a:xfrm>
            <a:off x="11367171" y="6437748"/>
            <a:ext cx="555597" cy="133860"/>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a:solidFill>
                <a:srgbClr val="505050"/>
              </a:solidFill>
            </a:endParaRPr>
          </a:p>
        </p:txBody>
      </p:sp>
      <p:sp>
        <p:nvSpPr>
          <p:cNvPr id="7" name="Text Placeholder 4"/>
          <p:cNvSpPr>
            <a:spLocks noGrp="1"/>
          </p:cNvSpPr>
          <p:nvPr>
            <p:ph type="body" sz="quarter" idx="13"/>
          </p:nvPr>
        </p:nvSpPr>
        <p:spPr>
          <a:xfrm>
            <a:off x="269239" y="291072"/>
            <a:ext cx="10757098" cy="1004683"/>
          </a:xfrm>
          <a:prstGeom prst="rect">
            <a:avLst/>
          </a:prstGeom>
        </p:spPr>
        <p:txBody>
          <a:bodyPr lIns="146304" tIns="91440" rIns="146304" bIns="91440">
            <a:noAutofit/>
          </a:bodyPr>
          <a:lstStyle>
            <a:lvl1pPr marL="0" indent="0">
              <a:lnSpc>
                <a:spcPct val="90000"/>
              </a:lnSpc>
              <a:spcBef>
                <a:spcPts val="1173"/>
              </a:spcBef>
              <a:spcAft>
                <a:spcPts val="2353"/>
              </a:spcAft>
              <a:buFontTx/>
              <a:buNone/>
              <a:defRPr lang="en-US" sz="5095" b="0" i="0" kern="1200" spc="0" baseline="0" dirty="0" smtClean="0">
                <a:solidFill>
                  <a:schemeClr val="tx2"/>
                </a:solidFill>
                <a:latin typeface="+mj-lt"/>
                <a:ea typeface="+mn-ea"/>
                <a:cs typeface="+mn-cs"/>
              </a:defRPr>
            </a:lvl1pPr>
          </a:lstStyle>
          <a:p>
            <a:pPr marL="0" marR="0" lvl="0" indent="0" algn="l" defTabSz="913841" rtl="0" eaLnBrk="1" fontAlgn="auto" latinLnBrk="0" hangingPunct="1">
              <a:lnSpc>
                <a:spcPct val="90000"/>
              </a:lnSpc>
              <a:spcBef>
                <a:spcPts val="1173"/>
              </a:spcBef>
              <a:spcAft>
                <a:spcPts val="2353"/>
              </a:spcAft>
              <a:buClrTx/>
              <a:buSzPct val="90000"/>
              <a:buFontTx/>
              <a:buNone/>
              <a:tabLst/>
            </a:pPr>
            <a:r>
              <a:rPr lang="en-US"/>
              <a:t>Click to edit Master text</a:t>
            </a:r>
          </a:p>
        </p:txBody>
      </p:sp>
    </p:spTree>
    <p:extLst>
      <p:ext uri="{BB962C8B-B14F-4D97-AF65-F5344CB8AC3E}">
        <p14:creationId xmlns:p14="http://schemas.microsoft.com/office/powerpoint/2010/main" val="686946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7">
          <p15:clr>
            <a:srgbClr val="FBAE40"/>
          </p15:clr>
        </p15:guide>
        <p15:guide id="2" pos="17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3pt Title +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4" name="Slide Number Placeholder 3"/>
          <p:cNvSpPr>
            <a:spLocks noGrp="1"/>
          </p:cNvSpPr>
          <p:nvPr>
            <p:ph type="sldNum" sz="quarter" idx="11"/>
          </p:nvPr>
        </p:nvSpPr>
        <p:spPr>
          <a:xfrm>
            <a:off x="11367171" y="6437748"/>
            <a:ext cx="555597" cy="133860"/>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2"/>
              </a:spcBef>
              <a:spcAft>
                <a:spcPts val="2353"/>
              </a:spcAft>
              <a:buFontTx/>
              <a:buNone/>
              <a:defRPr lang="en-US" sz="5094" b="0" i="0" kern="1200" spc="0" baseline="0" dirty="0" smtClean="0">
                <a:solidFill>
                  <a:schemeClr val="tx2"/>
                </a:solidFill>
                <a:latin typeface="+mj-lt"/>
                <a:ea typeface="+mn-ea"/>
                <a:cs typeface="+mn-cs"/>
              </a:defRPr>
            </a:lvl1pPr>
          </a:lstStyle>
          <a:p>
            <a:pPr marL="0" marR="0" lvl="0" indent="0" algn="l" defTabSz="913665" rtl="0" eaLnBrk="1" fontAlgn="auto" latinLnBrk="0" hangingPunct="1">
              <a:lnSpc>
                <a:spcPct val="90000"/>
              </a:lnSpc>
              <a:spcBef>
                <a:spcPts val="1172"/>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4" y="1213397"/>
            <a:ext cx="10816237" cy="611523"/>
          </a:xfrm>
          <a:prstGeom prst="rect">
            <a:avLst/>
          </a:prstGeom>
        </p:spPr>
        <p:txBody>
          <a:bodyPr lIns="192024" anchor="ctr"/>
          <a:lstStyle>
            <a:lvl1pPr marL="0" indent="0">
              <a:buNone/>
              <a:defRPr lang="en-US" sz="3108"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3934430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6"/>
            <a:ext cx="5181600" cy="2594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2594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1096816"/>
            <a:fld id="{8FC53413-301C-47E6-B34C-D76C6FD1FDFC}" type="datetimeFigureOut">
              <a:rPr lang="en-US" smtClean="0">
                <a:solidFill>
                  <a:prstClr val="black">
                    <a:tint val="75000"/>
                  </a:prstClr>
                </a:solidFill>
              </a:rPr>
              <a:pPr defTabSz="1096816"/>
              <a:t>2/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09681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096816"/>
            <a:fld id="{FFA16D97-A570-46C5-8DFA-CD6532C3FC79}" type="slidenum">
              <a:rPr lang="en-US" smtClean="0">
                <a:solidFill>
                  <a:prstClr val="black">
                    <a:tint val="75000"/>
                  </a:prstClr>
                </a:solidFill>
              </a:rPr>
              <a:pPr defTabSz="1096816"/>
              <a:t>‹#›</a:t>
            </a:fld>
            <a:endParaRPr lang="en-US">
              <a:solidFill>
                <a:prstClr val="black">
                  <a:tint val="75000"/>
                </a:prstClr>
              </a:solidFill>
            </a:endParaRPr>
          </a:p>
        </p:txBody>
      </p:sp>
    </p:spTree>
    <p:extLst>
      <p:ext uri="{BB962C8B-B14F-4D97-AF65-F5344CB8AC3E}">
        <p14:creationId xmlns:p14="http://schemas.microsoft.com/office/powerpoint/2010/main" val="14623337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36731" r="13829" b="1"/>
          <a:stretch/>
        </p:blipFill>
        <p:spPr>
          <a:xfrm>
            <a:off x="-19054" y="0"/>
            <a:ext cx="12211055" cy="6858000"/>
          </a:xfrm>
          <a:prstGeom prst="rect">
            <a:avLst/>
          </a:prstGeom>
        </p:spPr>
      </p:pic>
      <p:sp>
        <p:nvSpPr>
          <p:cNvPr id="2" name="Title 1"/>
          <p:cNvSpPr>
            <a:spLocks noGrp="1"/>
          </p:cNvSpPr>
          <p:nvPr>
            <p:ph type="ctrTitle"/>
          </p:nvPr>
        </p:nvSpPr>
        <p:spPr>
          <a:xfrm>
            <a:off x="1448179" y="2421173"/>
            <a:ext cx="10496171" cy="2012480"/>
          </a:xfrm>
        </p:spPr>
        <p:txBody>
          <a:bodyPr/>
          <a:lstStyle>
            <a:lvl1pPr>
              <a:defRPr sz="5399">
                <a:solidFill>
                  <a:schemeClr val="tx1"/>
                </a:solidFill>
              </a:defRPr>
            </a:lvl1pPr>
          </a:lstStyle>
          <a:p>
            <a:r>
              <a:rPr lang="en-US"/>
              <a:t>Click to edit Master title style</a:t>
            </a:r>
            <a:endParaRPr lang="en-US" dirty="0"/>
          </a:p>
        </p:txBody>
      </p:sp>
      <p:sp>
        <p:nvSpPr>
          <p:cNvPr id="25" name="Text Placeholder 24"/>
          <p:cNvSpPr>
            <a:spLocks noGrp="1"/>
          </p:cNvSpPr>
          <p:nvPr>
            <p:ph type="body" sz="quarter" idx="10"/>
          </p:nvPr>
        </p:nvSpPr>
        <p:spPr>
          <a:xfrm>
            <a:off x="1448179" y="4440915"/>
            <a:ext cx="7445604" cy="1204912"/>
          </a:xfrm>
          <a:prstGeom prst="rect">
            <a:avLst/>
          </a:prstGeom>
        </p:spPr>
        <p:txBody>
          <a:bodyPr/>
          <a:lstStyle>
            <a:lvl1pPr marL="0" indent="0">
              <a:buNone/>
              <a:defRPr sz="3200">
                <a:solidFill>
                  <a:schemeClr val="tx1"/>
                </a:solidFill>
                <a:latin typeface="Segoe UI Light" pitchFamily="34" charset="0"/>
              </a:defRPr>
            </a:lvl1pPr>
            <a:lvl2pPr marL="457112" indent="0">
              <a:buNone/>
              <a:defRPr sz="2000"/>
            </a:lvl2pPr>
            <a:lvl3pPr marL="914225" indent="0">
              <a:buNone/>
              <a:defRPr sz="2000"/>
            </a:lvl3pPr>
            <a:lvl4pPr marL="1371337" indent="0">
              <a:buNone/>
              <a:defRPr sz="2000"/>
            </a:lvl4pPr>
            <a:lvl5pPr marL="1828449" indent="0">
              <a:buNone/>
              <a:defRPr sz="2000"/>
            </a:lvl5pPr>
          </a:lstStyle>
          <a:p>
            <a:pPr lvl="0"/>
            <a:r>
              <a:rPr lang="en-US"/>
              <a:t>Edit Master text style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6874" y="481040"/>
            <a:ext cx="2484755" cy="1455918"/>
          </a:xfrm>
          <a:prstGeom prst="rect">
            <a:avLst/>
          </a:prstGeom>
        </p:spPr>
      </p:pic>
    </p:spTree>
    <p:extLst>
      <p:ext uri="{BB962C8B-B14F-4D97-AF65-F5344CB8AC3E}">
        <p14:creationId xmlns:p14="http://schemas.microsoft.com/office/powerpoint/2010/main" val="17430719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4970" y="366829"/>
            <a:ext cx="11151917" cy="85591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14970" y="1447799"/>
            <a:ext cx="11088103" cy="4889207"/>
          </a:xfrm>
          <a:prstGeom prst="rect">
            <a:avLst/>
          </a:prstGeom>
        </p:spPr>
        <p:txBody>
          <a:bodyPr/>
          <a:lstStyle>
            <a:lvl1pPr marL="457112" indent="-457112">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03121" indent="-457112">
              <a:buClrTx/>
              <a:buFont typeface="Segoe UI" panose="020B0502040204020203" pitchFamily="34" charset="0"/>
              <a:buChar char="−"/>
              <a:defRPr sz="2800">
                <a:latin typeface="Segoe UI" panose="020B0502040204020203" pitchFamily="34" charset="0"/>
                <a:ea typeface="Segoe UI Symbol" pitchFamily="34" charset="0"/>
                <a:cs typeface="Segoe UI" panose="020B0502040204020203" pitchFamily="34" charset="0"/>
              </a:defRPr>
            </a:lvl2pPr>
            <a:lvl3pPr marL="972950" indent="-342834">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3pPr>
            <a:lvl4pPr marL="1601480" indent="-342834">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4pPr>
            <a:lvl5pPr marL="1825274" indent="-342834">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43835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7"/>
            <a:ext cx="5384800" cy="4626858"/>
          </a:xfrm>
          <a:prstGeom prst="rect">
            <a:avLst/>
          </a:prstGeom>
        </p:spPr>
        <p:txBody>
          <a:bodyPr/>
          <a:lstStyle>
            <a:lvl1pPr marL="457112" indent="-457112">
              <a:buClrTx/>
              <a:buFont typeface="Arial" pitchFamily="34" charset="0"/>
              <a:buChar char="•"/>
              <a:defRPr sz="2800">
                <a:latin typeface="Segoe UI" panose="020B0502040204020203" pitchFamily="34" charset="0"/>
                <a:ea typeface="Segoe UI Symbol" pitchFamily="34" charset="0"/>
                <a:cs typeface="Segoe UI" panose="020B0502040204020203" pitchFamily="34" charset="0"/>
              </a:defRPr>
            </a:lvl1pPr>
            <a:lvl2pPr marL="799946" indent="-342834">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257058" indent="-342834">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657031" indent="-285695">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114144" indent="-285695">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0"/>
          </p:nvPr>
        </p:nvSpPr>
        <p:spPr>
          <a:xfrm>
            <a:off x="6197441" y="1600207"/>
            <a:ext cx="5384800" cy="4626858"/>
          </a:xfrm>
          <a:prstGeom prst="rect">
            <a:avLst/>
          </a:prstGeom>
        </p:spPr>
        <p:txBody>
          <a:bodyPr/>
          <a:lstStyle>
            <a:lvl1pPr marL="342834" indent="-342834">
              <a:buClrTx/>
              <a:buFont typeface="Arial" pitchFamily="34" charset="0"/>
              <a:buChar char="•"/>
              <a:defRPr sz="2800">
                <a:latin typeface="Segoe UI" panose="020B0502040204020203" pitchFamily="34" charset="0"/>
                <a:ea typeface="Segoe UI Symbol" pitchFamily="34" charset="0"/>
                <a:cs typeface="Segoe UI" panose="020B0502040204020203" pitchFamily="34" charset="0"/>
              </a:defRPr>
            </a:lvl1pPr>
            <a:lvl2pPr marL="742808" indent="-285695">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142781" indent="-228556">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599893" indent="-228556">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057005" indent="-228556">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630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30992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3502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0" hasCustomPrompt="1"/>
          </p:nvPr>
        </p:nvSpPr>
        <p:spPr>
          <a:xfrm>
            <a:off x="804883" y="1600962"/>
            <a:ext cx="10582365" cy="4690110"/>
          </a:xfrm>
          <a:prstGeom prst="rect">
            <a:avLst/>
          </a:prstGeom>
        </p:spPr>
        <p:txBody>
          <a:bodyPr/>
          <a:lstStyle>
            <a:lvl1pPr marL="0" indent="0">
              <a:buNone/>
              <a:defRPr sz="2800" b="0" baseline="0">
                <a:solidFill>
                  <a:schemeClr val="tx1">
                    <a:lumMod val="65000"/>
                    <a:lumOff val="35000"/>
                  </a:schemeClr>
                </a:solidFill>
                <a:latin typeface="Segoe UI" panose="020B0502040204020203" pitchFamily="34" charset="0"/>
                <a:cs typeface="Segoe UI" panose="020B0502040204020203" pitchFamily="34" charset="0"/>
              </a:defRPr>
            </a:lvl1pPr>
          </a:lstStyle>
          <a:p>
            <a:pPr lvl="0"/>
            <a:r>
              <a:rPr lang="en-US" dirty="0"/>
              <a:t>Insert Text</a:t>
            </a:r>
          </a:p>
        </p:txBody>
      </p:sp>
    </p:spTree>
    <p:extLst>
      <p:ext uri="{BB962C8B-B14F-4D97-AF65-F5344CB8AC3E}">
        <p14:creationId xmlns:p14="http://schemas.microsoft.com/office/powerpoint/2010/main" val="21383708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4970" y="366829"/>
            <a:ext cx="11151917" cy="85591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14970" y="1447799"/>
            <a:ext cx="11088103" cy="4889207"/>
          </a:xfrm>
          <a:prstGeom prst="rect">
            <a:avLst/>
          </a:prstGeom>
        </p:spPr>
        <p:txBody>
          <a:bodyPr/>
          <a:lstStyle>
            <a:lvl1pPr marL="457112" indent="-457112">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03121" indent="-457112">
              <a:buClrTx/>
              <a:buFont typeface="Segoe UI" panose="020B0502040204020203" pitchFamily="34" charset="0"/>
              <a:buChar char="−"/>
              <a:defRPr sz="2800">
                <a:latin typeface="Segoe UI" panose="020B0502040204020203" pitchFamily="34" charset="0"/>
                <a:ea typeface="Segoe UI Symbol" pitchFamily="34" charset="0"/>
                <a:cs typeface="Segoe UI" panose="020B0502040204020203" pitchFamily="34" charset="0"/>
              </a:defRPr>
            </a:lvl2pPr>
            <a:lvl3pPr marL="972950" indent="-342834">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3pPr>
            <a:lvl4pPr marL="1601480" indent="-342834">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4pPr>
            <a:lvl5pPr marL="1825274" indent="-342834">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924" y="5777828"/>
            <a:ext cx="1778463" cy="1042073"/>
          </a:xfrm>
          <a:prstGeom prst="rect">
            <a:avLst/>
          </a:prstGeom>
        </p:spPr>
      </p:pic>
    </p:spTree>
    <p:extLst>
      <p:ext uri="{BB962C8B-B14F-4D97-AF65-F5344CB8AC3E}">
        <p14:creationId xmlns:p14="http://schemas.microsoft.com/office/powerpoint/2010/main" val="18084474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4970" y="366829"/>
            <a:ext cx="11151917" cy="85591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14970" y="1447799"/>
            <a:ext cx="11088103" cy="4889207"/>
          </a:xfrm>
          <a:prstGeom prst="rect">
            <a:avLst/>
          </a:prstGeom>
        </p:spPr>
        <p:txBody>
          <a:bodyPr/>
          <a:lstStyle>
            <a:lvl1pPr marL="457112" indent="-457112">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03121" indent="-457112">
              <a:buClrTx/>
              <a:buFont typeface="Segoe UI" panose="020B0502040204020203" pitchFamily="34" charset="0"/>
              <a:buChar char="−"/>
              <a:defRPr sz="2800">
                <a:latin typeface="Segoe UI" panose="020B0502040204020203" pitchFamily="34" charset="0"/>
                <a:ea typeface="Segoe UI Symbol" pitchFamily="34" charset="0"/>
                <a:cs typeface="Segoe UI" panose="020B0502040204020203" pitchFamily="34" charset="0"/>
              </a:defRPr>
            </a:lvl2pPr>
            <a:lvl3pPr marL="972950" indent="-342834">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3pPr>
            <a:lvl4pPr marL="1601480" indent="-342834">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4pPr>
            <a:lvl5pPr marL="1825274" indent="-342834">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924" y="5777828"/>
            <a:ext cx="1778463" cy="1042073"/>
          </a:xfrm>
          <a:prstGeom prst="rect">
            <a:avLst/>
          </a:prstGeom>
        </p:spPr>
      </p:pic>
    </p:spTree>
    <p:extLst>
      <p:ext uri="{BB962C8B-B14F-4D97-AF65-F5344CB8AC3E}">
        <p14:creationId xmlns:p14="http://schemas.microsoft.com/office/powerpoint/2010/main" val="11499609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atin typeface="Segoe UI" panose="020B0502040204020203" pitchFamily="34" charset="0"/>
                <a:cs typeface="Segoe UI" panose="020B0502040204020203" pitchFamily="34"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225">
              <a:defRPr/>
            </a:pPr>
            <a:fld id="{0A9D7123-72F7-4849-BD8E-8FE1358A728B}" type="datetimeFigureOut">
              <a:rPr lang="en-US" smtClean="0">
                <a:solidFill>
                  <a:prstClr val="white"/>
                </a:solidFill>
              </a:rPr>
              <a:pPr defTabSz="914225">
                <a:defRPr/>
              </a:pPr>
              <a:t>2/5/2018</a:t>
            </a:fld>
            <a:endParaRPr lang="en-US" dirty="0">
              <a:solidFill>
                <a:prstClr val="white"/>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225">
              <a:defRPr/>
            </a:pPr>
            <a:endParaRPr lang="en-US" dirty="0">
              <a:solidFill>
                <a:prstClr val="white"/>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225">
              <a:defRPr/>
            </a:pPr>
            <a:fld id="{3B7F53D9-503C-43F0-8772-C53FE3EEB1EE}" type="slidenum">
              <a:rPr lang="en-US" smtClean="0">
                <a:solidFill>
                  <a:prstClr val="white"/>
                </a:solidFill>
              </a:rPr>
              <a:pPr defTabSz="914225">
                <a:defRPr/>
              </a:pPr>
              <a:t>‹#›</a:t>
            </a:fld>
            <a:endParaRPr lang="en-US" dirty="0">
              <a:solidFill>
                <a:prstClr val="white"/>
              </a:solidFill>
            </a:endParaRPr>
          </a:p>
        </p:txBody>
      </p:sp>
    </p:spTree>
    <p:extLst>
      <p:ext uri="{BB962C8B-B14F-4D97-AF65-F5344CB8AC3E}">
        <p14:creationId xmlns:p14="http://schemas.microsoft.com/office/powerpoint/2010/main" val="13301567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1">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576068" y="2873829"/>
            <a:ext cx="9144000" cy="54853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696017" y="3518502"/>
            <a:ext cx="6126480" cy="832802"/>
          </a:xfrm>
          <a:prstGeom prst="rect">
            <a:avLst/>
          </a:prstGeom>
        </p:spPr>
        <p:txBody>
          <a:bodyPr/>
          <a:lstStyle>
            <a:lvl1pPr marL="0" indent="0">
              <a:buNone/>
              <a:defRPr/>
            </a:lvl1pPr>
          </a:lstStyle>
          <a:p>
            <a:pPr algn="l"/>
            <a:r>
              <a:rPr lang="en-US" sz="3200" dirty="0"/>
              <a:t>Demo descriptio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320796" flipH="1">
            <a:off x="1263505" y="2952862"/>
            <a:ext cx="1131281" cy="1131281"/>
          </a:xfrm>
          <a:prstGeom prst="rect">
            <a:avLst/>
          </a:prstGeom>
        </p:spPr>
      </p:pic>
    </p:spTree>
    <p:extLst>
      <p:ext uri="{BB962C8B-B14F-4D97-AF65-F5344CB8AC3E}">
        <p14:creationId xmlns:p14="http://schemas.microsoft.com/office/powerpoint/2010/main" val="13088785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2">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576068" y="2873829"/>
            <a:ext cx="9144000" cy="54853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696017" y="3518502"/>
            <a:ext cx="6126480" cy="832802"/>
          </a:xfrm>
          <a:prstGeom prst="rect">
            <a:avLst/>
          </a:prstGeom>
        </p:spPr>
        <p:txBody>
          <a:bodyPr/>
          <a:lstStyle>
            <a:lvl1pPr marL="0" indent="0">
              <a:buNone/>
              <a:defRPr/>
            </a:lvl1pPr>
          </a:lstStyle>
          <a:p>
            <a:pPr algn="l"/>
            <a:r>
              <a:rPr lang="en-US" sz="3200" dirty="0"/>
              <a:t>Demo description</a:t>
            </a:r>
          </a:p>
        </p:txBody>
      </p:sp>
    </p:spTree>
    <p:extLst>
      <p:ext uri="{BB962C8B-B14F-4D97-AF65-F5344CB8AC3E}">
        <p14:creationId xmlns:p14="http://schemas.microsoft.com/office/powerpoint/2010/main" val="14039499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p:cNvSpPr/>
          <p:nvPr userDrawn="1"/>
        </p:nvSpPr>
        <p:spPr>
          <a:xfrm>
            <a:off x="0" y="1567544"/>
            <a:ext cx="12192000" cy="4149378"/>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159946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342954803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07450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24336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423878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199343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120952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809197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68012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5708007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535514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112102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2968843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437649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4240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96656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693366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94862166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2658184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9703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6152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183467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65771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46108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Title, Subtitle and Content">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66700" y="1963761"/>
            <a:ext cx="11658600" cy="2052030"/>
          </a:xfrm>
        </p:spPr>
        <p:txBody>
          <a:bodyPr/>
          <a:lstStyle>
            <a:lvl1pPr>
              <a:defRPr>
                <a:solidFill>
                  <a:srgbClr val="32145A"/>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266700" y="95042"/>
            <a:ext cx="11658600" cy="914400"/>
          </a:xfrm>
        </p:spPr>
        <p:txBody>
          <a:bodyPr/>
          <a:lstStyle>
            <a:lvl1pPr>
              <a:defRPr>
                <a:solidFill>
                  <a:srgbClr val="32145A"/>
                </a:solidFill>
              </a:defRPr>
            </a:lvl1pPr>
          </a:lstStyle>
          <a:p>
            <a:r>
              <a:rPr lang="en-US" dirty="0"/>
              <a:t>Click to edit title</a:t>
            </a:r>
          </a:p>
        </p:txBody>
      </p:sp>
      <p:sp>
        <p:nvSpPr>
          <p:cNvPr id="5" name="Text Placeholder 4"/>
          <p:cNvSpPr>
            <a:spLocks noGrp="1"/>
          </p:cNvSpPr>
          <p:nvPr>
            <p:ph type="body" sz="quarter" idx="11" hasCustomPrompt="1"/>
          </p:nvPr>
        </p:nvSpPr>
        <p:spPr>
          <a:xfrm>
            <a:off x="266700" y="1133897"/>
            <a:ext cx="11658600" cy="698156"/>
          </a:xfrm>
        </p:spPr>
        <p:txBody>
          <a:bodyPr tIns="91440" anchor="t"/>
          <a:lstStyle>
            <a:lvl1pPr>
              <a:defRPr sz="3733"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dirty="0"/>
              <a:t>Subtitle</a:t>
            </a:r>
          </a:p>
        </p:txBody>
      </p:sp>
    </p:spTree>
    <p:extLst>
      <p:ext uri="{BB962C8B-B14F-4D97-AF65-F5344CB8AC3E}">
        <p14:creationId xmlns:p14="http://schemas.microsoft.com/office/powerpoint/2010/main" val="22494902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5342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06465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881692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1376" cy="6858622"/>
          </a:xfrm>
          <a:prstGeom prst="rect">
            <a:avLst/>
          </a:prstGeom>
        </p:spPr>
      </p:pic>
      <p:pic>
        <p:nvPicPr>
          <p:cNvPr id="4" name="MS logo white"/>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9986172" y="6186209"/>
            <a:ext cx="1789713" cy="383000"/>
          </a:xfrm>
          <a:prstGeom prst="rect">
            <a:avLst/>
          </a:prstGeom>
        </p:spPr>
      </p:pic>
    </p:spTree>
    <p:extLst>
      <p:ext uri="{BB962C8B-B14F-4D97-AF65-F5344CB8AC3E}">
        <p14:creationId xmlns:p14="http://schemas.microsoft.com/office/powerpoint/2010/main" val="457554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 1">
    <p:bg>
      <p:bgPr>
        <a:solidFill>
          <a:srgbClr val="5C2D9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7"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45110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897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624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4175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Demo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7783" b="8254"/>
          <a:stretch/>
        </p:blipFill>
        <p:spPr>
          <a:xfrm>
            <a:off x="-1" y="0"/>
            <a:ext cx="12192001" cy="6858000"/>
          </a:xfrm>
          <a:prstGeom prst="rect">
            <a:avLst/>
          </a:prstGeom>
        </p:spPr>
      </p:pic>
      <p:sp>
        <p:nvSpPr>
          <p:cNvPr id="3" name="Rectangle 2"/>
          <p:cNvSpPr/>
          <p:nvPr userDrawn="1"/>
        </p:nvSpPr>
        <p:spPr bwMode="auto">
          <a:xfrm>
            <a:off x="0" y="0"/>
            <a:ext cx="12192000" cy="6858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19126" y="2"/>
            <a:ext cx="9172873" cy="662129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84171"/>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
        <p:nvSpPr>
          <p:cNvPr id="9" name="TextBox 8"/>
          <p:cNvSpPr txBox="1"/>
          <p:nvPr userDrawn="1"/>
        </p:nvSpPr>
        <p:spPr>
          <a:xfrm>
            <a:off x="9504556" y="5726841"/>
            <a:ext cx="2671947" cy="400414"/>
          </a:xfrm>
          <a:prstGeom prst="rect">
            <a:avLst/>
          </a:prstGeom>
          <a:noFill/>
          <a:effectLst/>
        </p:spPr>
        <p:txBody>
          <a:bodyPr wrap="none" lIns="179259" tIns="143407" rIns="179259" bIns="143407" rtlCol="0">
            <a:spAutoFit/>
          </a:bodyPr>
          <a:lstStyle/>
          <a:p>
            <a:pPr algn="r" defTabSz="914192">
              <a:lnSpc>
                <a:spcPct val="90000"/>
              </a:lnSpc>
              <a:spcAft>
                <a:spcPts val="588"/>
              </a:spcAft>
            </a:pPr>
            <a:r>
              <a:rPr lang="en-US" sz="800" baseline="0" dirty="0">
                <a:solidFill>
                  <a:schemeClr val="bg1"/>
                </a:solidFill>
                <a:effectLst/>
                <a:latin typeface="Segoe UI Light" charset="0"/>
              </a:rPr>
              <a:t>Photo used under CC http://www.wocintechchat.com/</a:t>
            </a:r>
          </a:p>
        </p:txBody>
      </p:sp>
    </p:spTree>
    <p:extLst>
      <p:ext uri="{BB962C8B-B14F-4D97-AF65-F5344CB8AC3E}">
        <p14:creationId xmlns:p14="http://schemas.microsoft.com/office/powerpoint/2010/main" val="1909949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9"/>
            <a:ext cx="9172873" cy="6621296"/>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a:ext>
            </a:extLst>
          </a:blip>
          <a:srcRect l="17176"/>
          <a:stretch/>
        </p:blipFill>
        <p:spPr>
          <a:xfrm>
            <a:off x="0" y="798242"/>
            <a:ext cx="5872872" cy="5096933"/>
          </a:xfrm>
          <a:prstGeom prst="rect">
            <a:avLst/>
          </a:prstGeom>
        </p:spPr>
      </p:pic>
    </p:spTree>
    <p:extLst>
      <p:ext uri="{BB962C8B-B14F-4D97-AF65-F5344CB8AC3E}">
        <p14:creationId xmlns:p14="http://schemas.microsoft.com/office/powerpoint/2010/main" val="661557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2"/>
            <a:ext cx="10010687" cy="1015663"/>
          </a:xfrm>
          <a:noFill/>
        </p:spPr>
        <p:txBody>
          <a:bodyPr wrap="square" tIns="91440" bIns="91440" anchor="t" anchorCtr="0">
            <a:spAutoFit/>
          </a:bodyPr>
          <a:lstStyle>
            <a:lvl1pPr>
              <a:defRPr sz="5998" spc="-98" baseline="0">
                <a:gradFill>
                  <a:gsLst>
                    <a:gs pos="0">
                      <a:schemeClr val="tx1"/>
                    </a:gs>
                    <a:gs pos="100000">
                      <a:schemeClr val="tx1"/>
                    </a:gs>
                  </a:gsLst>
                  <a:lin ang="5400000" scaled="0"/>
                </a:gradFill>
              </a:defRPr>
            </a:lvl1pPr>
          </a:lstStyle>
          <a:p>
            <a:r>
              <a:rPr lang="en-US"/>
              <a:t>Video 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26652" y="882711"/>
            <a:ext cx="7984402" cy="5763417"/>
          </a:xfrm>
          <a:prstGeom prst="rect">
            <a:avLst/>
          </a:prstGeom>
        </p:spPr>
      </p:pic>
      <p:sp>
        <p:nvSpPr>
          <p:cNvPr id="6" name="Rectangle 5"/>
          <p:cNvSpPr/>
          <p:nvPr userDrawn="1"/>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2711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35317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Transmiss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prstClr val="black"/>
              <a:schemeClr val="bg2">
                <a:tint val="45000"/>
                <a:satMod val="400000"/>
              </a:schemeClr>
            </a:duotone>
            <a:extLst>
              <a:ext uri="{BEBA8EAE-BF5A-486C-A8C5-ECC9F3942E4B}">
                <a14:imgProps xmlns:a14="http://schemas.microsoft.com/office/drawing/2010/main">
                  <a14:imgLayer r:embed="rId3">
                    <a14:imgEffect>
                      <a14:colorTemperature colorTemp="1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019126" y="2"/>
            <a:ext cx="9172873" cy="6621296"/>
          </a:xfrm>
          <a:prstGeom prst="rect">
            <a:avLst/>
          </a:prstGeom>
        </p:spPr>
      </p:pic>
      <p:sp>
        <p:nvSpPr>
          <p:cNvPr id="2" name="Title 1"/>
          <p:cNvSpPr>
            <a:spLocks noGrp="1"/>
          </p:cNvSpPr>
          <p:nvPr>
            <p:ph type="title" hasCustomPrompt="1"/>
          </p:nvPr>
        </p:nvSpPr>
        <p:spPr>
          <a:xfrm>
            <a:off x="568047" y="2084173"/>
            <a:ext cx="11354715"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3496061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68047" y="2084173"/>
            <a:ext cx="11354714"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3608540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urpl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8012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Section Title Plain">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p:cNvSpPr/>
          <p:nvPr userDrawn="1"/>
        </p:nvSpPr>
        <p:spPr bwMode="auto">
          <a:xfrm>
            <a:off x="3232248" y="0"/>
            <a:ext cx="5711483"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0483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Section Title Plain">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p:cNvSpPr/>
          <p:nvPr userDrawn="1"/>
        </p:nvSpPr>
        <p:spPr bwMode="auto">
          <a:xfrm>
            <a:off x="1624135" y="0"/>
            <a:ext cx="8943730"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32589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5C2D9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8851066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5462884"/>
          </a:xfrm>
          <a:prstGeom prst="rect">
            <a:avLst/>
          </a:prstGeom>
        </p:spPr>
      </p:pic>
      <p:sp>
        <p:nvSpPr>
          <p:cNvPr id="8" name="Rectangle 7"/>
          <p:cNvSpPr/>
          <p:nvPr userDrawn="1"/>
        </p:nvSpPr>
        <p:spPr bwMode="auto">
          <a:xfrm>
            <a:off x="1648" y="4863467"/>
            <a:ext cx="12190352" cy="1994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1633" y="5253375"/>
            <a:ext cx="2596555" cy="1146975"/>
          </a:xfrm>
          <a:prstGeom prst="rect">
            <a:avLst/>
          </a:prstGeom>
        </p:spPr>
      </p:pic>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1632" y="470066"/>
            <a:ext cx="1423303" cy="303612"/>
          </a:xfrm>
          <a:prstGeom prst="rect">
            <a:avLst/>
          </a:prstGeom>
        </p:spPr>
      </p:pic>
      <p:pic>
        <p:nvPicPr>
          <p:cNvPr id="14" name="Picture 13"/>
          <p:cNvPicPr>
            <a:picLocks noChangeAspect="1"/>
          </p:cNvPicPr>
          <p:nvPr userDrawn="1"/>
        </p:nvPicPr>
        <p:blipFill rotWithShape="1">
          <a:blip r:embed="rId6" cstate="screen">
            <a:extLst>
              <a:ext uri="{28A0092B-C50C-407E-A947-70E740481C1C}">
                <a14:useLocalDpi xmlns:a14="http://schemas.microsoft.com/office/drawing/2010/main"/>
              </a:ext>
            </a:extLst>
          </a:blip>
          <a:srcRect l="-17523"/>
          <a:stretch/>
        </p:blipFill>
        <p:spPr>
          <a:xfrm>
            <a:off x="7599824" y="4863467"/>
            <a:ext cx="4592176" cy="1994533"/>
          </a:xfrm>
          <a:prstGeom prst="rect">
            <a:avLst/>
          </a:prstGeom>
        </p:spPr>
      </p:pic>
    </p:spTree>
    <p:extLst>
      <p:ext uri="{BB962C8B-B14F-4D97-AF65-F5344CB8AC3E}">
        <p14:creationId xmlns:p14="http://schemas.microsoft.com/office/powerpoint/2010/main" val="633072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
        <p:nvSpPr>
          <p:cNvPr id="7" name="Text Placeholder 3"/>
          <p:cNvSpPr>
            <a:spLocks noGrp="1"/>
          </p:cNvSpPr>
          <p:nvPr>
            <p:ph type="body" sz="quarter" idx="15" hasCustomPrompt="1"/>
          </p:nvPr>
        </p:nvSpPr>
        <p:spPr>
          <a:xfrm>
            <a:off x="9233488" y="291069"/>
            <a:ext cx="2689274" cy="452654"/>
          </a:xfrm>
        </p:spPr>
        <p:txBody>
          <a:bodyPr/>
          <a:lstStyle>
            <a:lvl1pPr marL="0" marR="0" indent="0" algn="r"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77180" y="5923422"/>
            <a:ext cx="1601979" cy="651821"/>
          </a:xfrm>
          <a:prstGeom prst="rect">
            <a:avLst/>
          </a:prstGeom>
        </p:spPr>
        <p:txBody>
          <a:bodyPr wrap="none" lIns="179285" tIns="143428" rIns="179285" bIns="143428">
            <a:spAutoFit/>
          </a:bodyPr>
          <a:lstStyle/>
          <a:p>
            <a:r>
              <a:rPr lang="en-US" sz="2353" dirty="0">
                <a:gradFill>
                  <a:gsLst>
                    <a:gs pos="2597">
                      <a:schemeClr val="tx1"/>
                    </a:gs>
                    <a:gs pos="18182">
                      <a:schemeClr val="tx1"/>
                    </a:gs>
                  </a:gsLst>
                  <a:lin ang="5400000" scaled="1"/>
                </a:gradFill>
              </a:rPr>
              <a:t>#</a:t>
            </a:r>
            <a:r>
              <a:rPr lang="en-US" sz="2353" dirty="0" err="1">
                <a:gradFill>
                  <a:gsLst>
                    <a:gs pos="2597">
                      <a:schemeClr val="tx1"/>
                    </a:gs>
                    <a:gs pos="18182">
                      <a:schemeClr val="tx1"/>
                    </a:gs>
                  </a:gsLst>
                  <a:lin ang="5400000" scaled="1"/>
                </a:gradFill>
              </a:rPr>
              <a:t>MSBuild</a:t>
            </a:r>
            <a:endParaRPr lang="en-US" sz="2353"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982738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37395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480587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image" Target="../media/image1.emf"/><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theme" Target="../theme/theme11.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heme" Target="../theme/theme12.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21" Type="http://schemas.openxmlformats.org/officeDocument/2006/relationships/image" Target="../media/image1.emf"/><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theme" Target="../theme/theme13.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3" Type="http://schemas.openxmlformats.org/officeDocument/2006/relationships/slideLayout" Target="../slideLayouts/slideLayout241.xml"/><Relationship Id="rId21" Type="http://schemas.openxmlformats.org/officeDocument/2006/relationships/image" Target="../media/image1.emf"/><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theme" Target="../theme/theme14.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9.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image" Target="../media/image1.emf"/><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theme" Target="../theme/theme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heme" Target="../theme/theme5.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theme" Target="../theme/theme6.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image" Target="../media/image1.emf"/><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6" Type="http://schemas.openxmlformats.org/officeDocument/2006/relationships/theme" Target="../theme/theme7.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image" Target="../media/image9.png"/><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5" Type="http://schemas.openxmlformats.org/officeDocument/2006/relationships/slideLayout" Target="../slideLayouts/slideLayout158.xml"/><Relationship Id="rId10" Type="http://schemas.openxmlformats.org/officeDocument/2006/relationships/theme" Target="../theme/theme9.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8763072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3"/>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7493253"/>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Lst>
  <p:transition>
    <p:fade/>
  </p:transition>
  <p:txStyles>
    <p:titleStyle>
      <a:lvl1pPr algn="l" defTabSz="914089" rtl="0" eaLnBrk="1" latinLnBrk="0" hangingPunct="1">
        <a:lnSpc>
          <a:spcPct val="90000"/>
        </a:lnSpc>
        <a:spcBef>
          <a:spcPct val="0"/>
        </a:spcBef>
        <a:buNone/>
        <a:defRPr lang="en-US" sz="5398"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37" indent="-460237" algn="l" defTabSz="91408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06" indent="-395169" algn="l" defTabSz="91408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10" indent="-403104" algn="l" defTabSz="91408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482" indent="-345971"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4pPr>
      <a:lvl5pPr marL="1940931" indent="-336449"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19969660"/>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A57E08-95F6-4F6A-9D7E-039B075F4B1D}" type="datetimeFigureOut">
              <a:rPr lang="en-US" smtClean="0"/>
              <a:t>2/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7CC5A6-7F3B-40DF-9864-2F2AC68AD92F}" type="slidenum">
              <a:rPr lang="en-US" smtClean="0"/>
              <a:t>‹#›</a:t>
            </a:fld>
            <a:endParaRPr lang="en-US"/>
          </a:p>
        </p:txBody>
      </p:sp>
    </p:spTree>
    <p:extLst>
      <p:ext uri="{BB962C8B-B14F-4D97-AF65-F5344CB8AC3E}">
        <p14:creationId xmlns:p14="http://schemas.microsoft.com/office/powerpoint/2010/main" val="2520464468"/>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93125772"/>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81154386"/>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062541911"/>
      </p:ext>
    </p:extLst>
  </p:cSld>
  <p:clrMap bg1="dk1" tx1="lt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760" y="359703"/>
            <a:ext cx="10972482" cy="863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64308570"/>
      </p:ext>
    </p:extLst>
  </p:cSld>
  <p:clrMap bg1="dk1" tx1="lt1" bg2="dk2" tx2="lt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l" defTabSz="457112" rtl="0" eaLnBrk="1" fontAlgn="base" hangingPunct="1">
        <a:lnSpc>
          <a:spcPct val="80000"/>
        </a:lnSpc>
        <a:spcBef>
          <a:spcPct val="0"/>
        </a:spcBef>
        <a:spcAft>
          <a:spcPct val="0"/>
        </a:spcAft>
        <a:defRPr sz="5399" kern="1200">
          <a:solidFill>
            <a:srgbClr val="0070C0"/>
          </a:solidFill>
          <a:latin typeface="Segoe UI Light"/>
          <a:ea typeface="ＭＳ Ｐゴシック" charset="0"/>
          <a:cs typeface="Segoe UI Light"/>
        </a:defRPr>
      </a:lvl1pPr>
      <a:lvl2pPr algn="l" defTabSz="457112"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112"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112"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112"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112" algn="l" defTabSz="457112" rtl="0" eaLnBrk="1" fontAlgn="base" hangingPunct="1">
        <a:spcBef>
          <a:spcPct val="0"/>
        </a:spcBef>
        <a:spcAft>
          <a:spcPct val="0"/>
        </a:spcAft>
        <a:defRPr sz="4400">
          <a:solidFill>
            <a:schemeClr val="accent1"/>
          </a:solidFill>
          <a:latin typeface="Segoe UI Light" charset="0"/>
          <a:ea typeface="ＭＳ Ｐゴシック" charset="0"/>
        </a:defRPr>
      </a:lvl6pPr>
      <a:lvl7pPr marL="914225" algn="l" defTabSz="457112" rtl="0" eaLnBrk="1" fontAlgn="base" hangingPunct="1">
        <a:spcBef>
          <a:spcPct val="0"/>
        </a:spcBef>
        <a:spcAft>
          <a:spcPct val="0"/>
        </a:spcAft>
        <a:defRPr sz="4400">
          <a:solidFill>
            <a:schemeClr val="accent1"/>
          </a:solidFill>
          <a:latin typeface="Segoe UI Light" charset="0"/>
          <a:ea typeface="ＭＳ Ｐゴシック" charset="0"/>
        </a:defRPr>
      </a:lvl7pPr>
      <a:lvl8pPr marL="1371337" algn="l" defTabSz="457112" rtl="0" eaLnBrk="1" fontAlgn="base" hangingPunct="1">
        <a:spcBef>
          <a:spcPct val="0"/>
        </a:spcBef>
        <a:spcAft>
          <a:spcPct val="0"/>
        </a:spcAft>
        <a:defRPr sz="4400">
          <a:solidFill>
            <a:schemeClr val="accent1"/>
          </a:solidFill>
          <a:latin typeface="Segoe UI Light" charset="0"/>
          <a:ea typeface="ＭＳ Ｐゴシック" charset="0"/>
        </a:defRPr>
      </a:lvl8pPr>
      <a:lvl9pPr marL="1828449" algn="l" defTabSz="457112" rtl="0" eaLnBrk="1" fontAlgn="base" hangingPunct="1">
        <a:spcBef>
          <a:spcPct val="0"/>
        </a:spcBef>
        <a:spcAft>
          <a:spcPct val="0"/>
        </a:spcAft>
        <a:defRPr sz="4400">
          <a:solidFill>
            <a:schemeClr val="accent1"/>
          </a:solidFill>
          <a:latin typeface="Segoe UI Light" charset="0"/>
          <a:ea typeface="ＭＳ Ｐゴシック" charset="0"/>
        </a:defRPr>
      </a:lvl9pPr>
    </p:titleStyle>
    <p:bodyStyle>
      <a:lvl1pPr marL="342834" indent="-342834" algn="l" defTabSz="914188"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42808" indent="-285695" algn="l" defTabSz="914188" rtl="0" eaLnBrk="1" fontAlgn="base" latinLnBrk="0" hangingPunct="1">
        <a:lnSpc>
          <a:spcPct val="90000"/>
        </a:lnSpc>
        <a:spcBef>
          <a:spcPct val="20000"/>
        </a:spcBef>
        <a:spcAft>
          <a:spcPts val="4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42781" indent="-228556" algn="l" defTabSz="914188" rtl="0" eaLnBrk="1" fontAlgn="base" latinLnBrk="0" hangingPunct="1">
        <a:lnSpc>
          <a:spcPct val="90000"/>
        </a:lnSpc>
        <a:spcBef>
          <a:spcPct val="20000"/>
        </a:spcBef>
        <a:spcAft>
          <a:spcPts val="30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599893" indent="-228556" algn="l" defTabSz="914188" rtl="0" eaLnBrk="1" fontAlgn="base" latinLnBrk="0" hangingPunct="1">
        <a:lnSpc>
          <a:spcPct val="90000"/>
        </a:lnSpc>
        <a:spcBef>
          <a:spcPct val="20000"/>
        </a:spcBef>
        <a:spcAft>
          <a:spcPct val="0"/>
        </a:spcAft>
        <a:buSzPct val="90000"/>
        <a:buFont typeface="Arial" charset="0"/>
        <a:buChar char="•"/>
        <a:defRPr lang="en-US" sz="3200"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7005" indent="-228556" algn="l" defTabSz="914188" rtl="0" eaLnBrk="1" fontAlgn="base" latinLnBrk="0" hangingPunct="1">
        <a:lnSpc>
          <a:spcPct val="90000"/>
        </a:lnSpc>
        <a:spcBef>
          <a:spcPct val="20000"/>
        </a:spcBef>
        <a:spcAft>
          <a:spcPct val="0"/>
        </a:spcAft>
        <a:buSzPct val="90000"/>
        <a:buFont typeface="Arial" charset="0"/>
        <a:buChar char="•"/>
        <a:defRPr lang="en-US" sz="3200"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118" indent="-228556" algn="l" defTabSz="457112" rtl="0" eaLnBrk="1" latinLnBrk="0" hangingPunct="1">
        <a:spcBef>
          <a:spcPct val="20000"/>
        </a:spcBef>
        <a:buFont typeface="Arial"/>
        <a:buChar char="•"/>
        <a:defRPr sz="2000" kern="1200">
          <a:solidFill>
            <a:schemeClr val="tx1"/>
          </a:solidFill>
          <a:latin typeface="+mn-lt"/>
          <a:ea typeface="+mn-ea"/>
          <a:cs typeface="+mn-cs"/>
        </a:defRPr>
      </a:lvl6pPr>
      <a:lvl7pPr marL="2971230" indent="-228556" algn="l" defTabSz="457112" rtl="0" eaLnBrk="1" latinLnBrk="0" hangingPunct="1">
        <a:spcBef>
          <a:spcPct val="20000"/>
        </a:spcBef>
        <a:buFont typeface="Arial"/>
        <a:buChar char="•"/>
        <a:defRPr sz="2000" kern="1200">
          <a:solidFill>
            <a:schemeClr val="tx1"/>
          </a:solidFill>
          <a:latin typeface="+mn-lt"/>
          <a:ea typeface="+mn-ea"/>
          <a:cs typeface="+mn-cs"/>
        </a:defRPr>
      </a:lvl7pPr>
      <a:lvl8pPr marL="3428341" indent="-228556" algn="l" defTabSz="457112" rtl="0" eaLnBrk="1" latinLnBrk="0" hangingPunct="1">
        <a:spcBef>
          <a:spcPct val="20000"/>
        </a:spcBef>
        <a:buFont typeface="Arial"/>
        <a:buChar char="•"/>
        <a:defRPr sz="2000" kern="1200">
          <a:solidFill>
            <a:schemeClr val="tx1"/>
          </a:solidFill>
          <a:latin typeface="+mn-lt"/>
          <a:ea typeface="+mn-ea"/>
          <a:cs typeface="+mn-cs"/>
        </a:defRPr>
      </a:lvl8pPr>
      <a:lvl9pPr marL="3885453" indent="-228556" algn="l" defTabSz="45711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12" rtl="0" eaLnBrk="1" latinLnBrk="0" hangingPunct="1">
        <a:defRPr sz="1800" kern="1200">
          <a:solidFill>
            <a:schemeClr val="tx1"/>
          </a:solidFill>
          <a:latin typeface="+mn-lt"/>
          <a:ea typeface="+mn-ea"/>
          <a:cs typeface="+mn-cs"/>
        </a:defRPr>
      </a:lvl1pPr>
      <a:lvl2pPr marL="457112" algn="l" defTabSz="457112" rtl="0" eaLnBrk="1" latinLnBrk="0" hangingPunct="1">
        <a:defRPr sz="1800" kern="1200">
          <a:solidFill>
            <a:schemeClr val="tx1"/>
          </a:solidFill>
          <a:latin typeface="+mn-lt"/>
          <a:ea typeface="+mn-ea"/>
          <a:cs typeface="+mn-cs"/>
        </a:defRPr>
      </a:lvl2pPr>
      <a:lvl3pPr marL="914225" algn="l" defTabSz="457112" rtl="0" eaLnBrk="1" latinLnBrk="0" hangingPunct="1">
        <a:defRPr sz="1800" kern="1200">
          <a:solidFill>
            <a:schemeClr val="tx1"/>
          </a:solidFill>
          <a:latin typeface="+mn-lt"/>
          <a:ea typeface="+mn-ea"/>
          <a:cs typeface="+mn-cs"/>
        </a:defRPr>
      </a:lvl3pPr>
      <a:lvl4pPr marL="1371337" algn="l" defTabSz="457112" rtl="0" eaLnBrk="1" latinLnBrk="0" hangingPunct="1">
        <a:defRPr sz="1800" kern="1200">
          <a:solidFill>
            <a:schemeClr val="tx1"/>
          </a:solidFill>
          <a:latin typeface="+mn-lt"/>
          <a:ea typeface="+mn-ea"/>
          <a:cs typeface="+mn-cs"/>
        </a:defRPr>
      </a:lvl4pPr>
      <a:lvl5pPr marL="1828449" algn="l" defTabSz="457112" rtl="0" eaLnBrk="1" latinLnBrk="0" hangingPunct="1">
        <a:defRPr sz="1800" kern="1200">
          <a:solidFill>
            <a:schemeClr val="tx1"/>
          </a:solidFill>
          <a:latin typeface="+mn-lt"/>
          <a:ea typeface="+mn-ea"/>
          <a:cs typeface="+mn-cs"/>
        </a:defRPr>
      </a:lvl5pPr>
      <a:lvl6pPr marL="2285561" algn="l" defTabSz="457112" rtl="0" eaLnBrk="1" latinLnBrk="0" hangingPunct="1">
        <a:defRPr sz="1800" kern="1200">
          <a:solidFill>
            <a:schemeClr val="tx1"/>
          </a:solidFill>
          <a:latin typeface="+mn-lt"/>
          <a:ea typeface="+mn-ea"/>
          <a:cs typeface="+mn-cs"/>
        </a:defRPr>
      </a:lvl6pPr>
      <a:lvl7pPr marL="2742674" algn="l" defTabSz="457112" rtl="0" eaLnBrk="1" latinLnBrk="0" hangingPunct="1">
        <a:defRPr sz="1800" kern="1200">
          <a:solidFill>
            <a:schemeClr val="tx1"/>
          </a:solidFill>
          <a:latin typeface="+mn-lt"/>
          <a:ea typeface="+mn-ea"/>
          <a:cs typeface="+mn-cs"/>
        </a:defRPr>
      </a:lvl7pPr>
      <a:lvl8pPr marL="3199785" algn="l" defTabSz="457112" rtl="0" eaLnBrk="1" latinLnBrk="0" hangingPunct="1">
        <a:defRPr sz="1800" kern="1200">
          <a:solidFill>
            <a:schemeClr val="tx1"/>
          </a:solidFill>
          <a:latin typeface="+mn-lt"/>
          <a:ea typeface="+mn-ea"/>
          <a:cs typeface="+mn-cs"/>
        </a:defRPr>
      </a:lvl8pPr>
      <a:lvl9pPr marL="3656897" algn="l" defTabSz="45711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1650861"/>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9"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2" y="-8232"/>
            <a:ext cx="936855" cy="5662634"/>
            <a:chOff x="12618967" y="-8396"/>
            <a:chExt cx="955641" cy="5775362"/>
          </a:xfrm>
        </p:grpSpPr>
        <p:grpSp>
          <p:nvGrpSpPr>
            <p:cNvPr id="18" name="Group 17"/>
            <p:cNvGrpSpPr/>
            <p:nvPr userDrawn="1"/>
          </p:nvGrpSpPr>
          <p:grpSpPr>
            <a:xfrm>
              <a:off x="12618967" y="-8396"/>
              <a:ext cx="955641" cy="5775362"/>
              <a:chOff x="12618967" y="-8396"/>
              <a:chExt cx="955641" cy="5775362"/>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4259176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5"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7621556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0460906"/>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1" r:id="rId5"/>
    <p:sldLayoutId id="2147483802" r:id="rId6"/>
    <p:sldLayoutId id="2147483803" r:id="rId7"/>
    <p:sldLayoutId id="2147483804" r:id="rId8"/>
    <p:sldLayoutId id="2147483806" r:id="rId9"/>
    <p:sldLayoutId id="2147483807" r:id="rId10"/>
    <p:sldLayoutId id="2147483808" r:id="rId11"/>
    <p:sldLayoutId id="2147483810" r:id="rId12"/>
    <p:sldLayoutId id="2147483812" r:id="rId13"/>
    <p:sldLayoutId id="2147483814" r:id="rId14"/>
    <p:sldLayoutId id="2147483815"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63635353"/>
      </p:ext>
    </p:extLst>
  </p:cSld>
  <p:clrMap bg1="dk1" tx1="lt1" bg2="dk2" tx2="lt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36419313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3.xml"/></Relationships>
</file>

<file path=ppt/slides/_rels/slide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xml"/><Relationship Id="rId1" Type="http://schemas.openxmlformats.org/officeDocument/2006/relationships/slideLayout" Target="../slideLayouts/slideLayout223.xml"/></Relationships>
</file>

<file path=ppt/slides/_rels/slide11.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notesSlide" Target="../notesSlides/notesSlide11.xml"/><Relationship Id="rId7" Type="http://schemas.openxmlformats.org/officeDocument/2006/relationships/image" Target="../media/image85.png"/><Relationship Id="rId2" Type="http://schemas.openxmlformats.org/officeDocument/2006/relationships/slideLayout" Target="../slideLayouts/slideLayout186.xml"/><Relationship Id="rId1" Type="http://schemas.openxmlformats.org/officeDocument/2006/relationships/themeOverride" Target="../theme/themeOverride2.xml"/><Relationship Id="rId6" Type="http://schemas.openxmlformats.org/officeDocument/2006/relationships/image" Target="../media/image84.jpeg"/><Relationship Id="rId5" Type="http://schemas.openxmlformats.org/officeDocument/2006/relationships/image" Target="../media/image83.png"/><Relationship Id="rId4" Type="http://schemas.openxmlformats.org/officeDocument/2006/relationships/image" Target="../media/image82.png"/><Relationship Id="rId9" Type="http://schemas.openxmlformats.org/officeDocument/2006/relationships/image" Target="../media/image87.png"/></Relationships>
</file>

<file path=ppt/slides/_rels/slide12.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8.emf"/><Relationship Id="rId7" Type="http://schemas.openxmlformats.org/officeDocument/2006/relationships/image" Target="../media/image91.png"/><Relationship Id="rId2" Type="http://schemas.openxmlformats.org/officeDocument/2006/relationships/notesSlide" Target="../notesSlides/notesSlide12.xml"/><Relationship Id="rId1" Type="http://schemas.openxmlformats.org/officeDocument/2006/relationships/slideLayout" Target="../slideLayouts/slideLayout189.xml"/><Relationship Id="rId6" Type="http://schemas.openxmlformats.org/officeDocument/2006/relationships/image" Target="../media/image90.png"/><Relationship Id="rId5" Type="http://schemas.openxmlformats.org/officeDocument/2006/relationships/image" Target="../media/image60.emf"/><Relationship Id="rId10" Type="http://schemas.openxmlformats.org/officeDocument/2006/relationships/image" Target="../media/image93.png"/><Relationship Id="rId4" Type="http://schemas.openxmlformats.org/officeDocument/2006/relationships/image" Target="../media/image89.emf"/><Relationship Id="rId9" Type="http://schemas.openxmlformats.org/officeDocument/2006/relationships/image" Target="../media/image84.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3.xml"/></Relationships>
</file>

<file path=ppt/slides/_rels/slide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xml"/><Relationship Id="rId1" Type="http://schemas.openxmlformats.org/officeDocument/2006/relationships/slideLayout" Target="../slideLayouts/slideLayout158.xml"/><Relationship Id="rId6" Type="http://schemas.openxmlformats.org/officeDocument/2006/relationships/image" Target="../media/image58.png"/><Relationship Id="rId5" Type="http://schemas.openxmlformats.org/officeDocument/2006/relationships/image" Target="../media/image57.gif"/><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5.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emf"/><Relationship Id="rId7"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211.xml"/><Relationship Id="rId6" Type="http://schemas.openxmlformats.org/officeDocument/2006/relationships/image" Target="../media/image62.png"/><Relationship Id="rId5" Type="http://schemas.openxmlformats.org/officeDocument/2006/relationships/image" Target="../media/image61.tiff"/><Relationship Id="rId10" Type="http://schemas.openxmlformats.org/officeDocument/2006/relationships/image" Target="../media/image66.png"/><Relationship Id="rId4" Type="http://schemas.openxmlformats.org/officeDocument/2006/relationships/image" Target="../media/image60.emf"/><Relationship Id="rId9" Type="http://schemas.openxmlformats.org/officeDocument/2006/relationships/image" Target="../media/image65.png"/></Relationships>
</file>

<file path=ppt/slides/_rels/slide6.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2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164.xml"/></Relationships>
</file>

<file path=ppt/slides/_rels/slide8.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211.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xml"/><Relationship Id="rId1" Type="http://schemas.openxmlformats.org/officeDocument/2006/relationships/slideLayout" Target="../slideLayouts/slideLayout217.xml"/><Relationship Id="rId5" Type="http://schemas.openxmlformats.org/officeDocument/2006/relationships/image" Target="../media/image80.png"/><Relationship Id="rId4"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62847E6-6738-40C9-B6FD-9107ABB1774D}"/>
              </a:ext>
            </a:extLst>
          </p:cNvPr>
          <p:cNvGrpSpPr/>
          <p:nvPr/>
        </p:nvGrpSpPr>
        <p:grpSpPr>
          <a:xfrm>
            <a:off x="80084" y="1451349"/>
            <a:ext cx="7909162" cy="3834865"/>
            <a:chOff x="80084" y="2284881"/>
            <a:chExt cx="7909162" cy="3834865"/>
          </a:xfrm>
        </p:grpSpPr>
        <p:sp>
          <p:nvSpPr>
            <p:cNvPr id="4" name="Rectangle 3"/>
            <p:cNvSpPr/>
            <p:nvPr/>
          </p:nvSpPr>
          <p:spPr bwMode="auto">
            <a:xfrm>
              <a:off x="80084" y="2284881"/>
              <a:ext cx="7808746" cy="3834865"/>
            </a:xfrm>
            <a:prstGeom prst="rect">
              <a:avLst/>
            </a:prstGeom>
            <a:solidFill>
              <a:schemeClr val="accent1">
                <a:alpha val="3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2"/>
            <p:cNvSpPr txBox="1">
              <a:spLocks/>
            </p:cNvSpPr>
            <p:nvPr/>
          </p:nvSpPr>
          <p:spPr>
            <a:xfrm>
              <a:off x="180500" y="2614719"/>
              <a:ext cx="7808746" cy="949575"/>
            </a:xfrm>
            <a:prstGeom prst="rect">
              <a:avLst/>
            </a:prstGeom>
          </p:spPr>
          <p:txBody>
            <a:bodyPr vert="horz" wrap="square" lIns="143407" tIns="89630" rIns="143407" bIns="8963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4703"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Microsoft Azure </a:t>
              </a:r>
              <a:br>
                <a:rPr kumimoji="0" lang="en-US" sz="4703"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703"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ontainers and Orchestration</a:t>
              </a:r>
            </a:p>
            <a:p>
              <a:pPr marL="0" marR="0" lvl="0" indent="0" algn="l" defTabSz="914016" rtl="0" eaLnBrk="1" fontAlgn="auto" latinLnBrk="0" hangingPunct="1">
                <a:lnSpc>
                  <a:spcPct val="90000"/>
                </a:lnSpc>
                <a:spcBef>
                  <a:spcPct val="0"/>
                </a:spcBef>
                <a:spcAft>
                  <a:spcPts val="0"/>
                </a:spcAft>
                <a:buClrTx/>
                <a:buSzTx/>
                <a:buFontTx/>
                <a:buNone/>
                <a:tabLst/>
                <a:defRPr/>
              </a:pPr>
              <a:endParaRPr kumimoji="0" lang="en-US" sz="4703" b="0" i="0" u="none" strike="noStrike" kern="1200" cap="none" spc="-3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6" name="Title 2"/>
            <p:cNvSpPr txBox="1">
              <a:spLocks/>
            </p:cNvSpPr>
            <p:nvPr/>
          </p:nvSpPr>
          <p:spPr>
            <a:xfrm>
              <a:off x="186721" y="4301312"/>
              <a:ext cx="7529046" cy="1458779"/>
            </a:xfrm>
            <a:prstGeom prst="rect">
              <a:avLst/>
            </a:prstGeom>
          </p:spPr>
          <p:txBody>
            <a:bodyPr vert="horz" wrap="square" lIns="143407" tIns="89630" rIns="143407" bIns="8963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2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Shimail Gillani</a:t>
              </a:r>
            </a:p>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2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loud Solution Architect</a:t>
              </a:r>
            </a:p>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2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Microsoft Education</a:t>
              </a:r>
            </a:p>
          </p:txBody>
        </p:sp>
      </p:grpSp>
    </p:spTree>
    <p:extLst>
      <p:ext uri="{BB962C8B-B14F-4D97-AF65-F5344CB8AC3E}">
        <p14:creationId xmlns:p14="http://schemas.microsoft.com/office/powerpoint/2010/main" val="52326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4518C6-09C0-4D35-A9E3-45BA11855A3B}"/>
              </a:ext>
            </a:extLst>
          </p:cNvPr>
          <p:cNvSpPr>
            <a:spLocks noGrp="1"/>
          </p:cNvSpPr>
          <p:nvPr>
            <p:ph type="title"/>
          </p:nvPr>
        </p:nvSpPr>
        <p:spPr/>
        <p:txBody>
          <a:bodyPr/>
          <a:lstStyle/>
          <a:p>
            <a:r>
              <a:rPr lang="it-IT" dirty="0"/>
              <a:t>Exercise 3 - Containers and Azure App Service</a:t>
            </a:r>
            <a:endParaRPr lang="es-ES" dirty="0"/>
          </a:p>
        </p:txBody>
      </p:sp>
      <p:pic>
        <p:nvPicPr>
          <p:cNvPr id="1026" name="Picture 2" descr="https://azure.microsoft.com/svghandler/app-service/?width=600&amp;height=315">
            <a:extLst>
              <a:ext uri="{FF2B5EF4-FFF2-40B4-BE49-F238E27FC236}">
                <a16:creationId xmlns:a16="http://schemas.microsoft.com/office/drawing/2014/main" id="{15C1BD4B-8A1B-4D4C-AE5A-25FFD2A82B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45" y="2087743"/>
            <a:ext cx="5602655" cy="294139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E52AEDA-8998-4A64-9D86-F4E5DDE24C8F}"/>
              </a:ext>
            </a:extLst>
          </p:cNvPr>
          <p:cNvSpPr txBox="1"/>
          <p:nvPr/>
        </p:nvSpPr>
        <p:spPr>
          <a:xfrm>
            <a:off x="1889199" y="5123220"/>
            <a:ext cx="1733166" cy="1016818"/>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zure App</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ervice</a:t>
            </a:r>
          </a:p>
        </p:txBody>
      </p:sp>
      <p:sp>
        <p:nvSpPr>
          <p:cNvPr id="3" name="Left Brace 2">
            <a:extLst>
              <a:ext uri="{FF2B5EF4-FFF2-40B4-BE49-F238E27FC236}">
                <a16:creationId xmlns:a16="http://schemas.microsoft.com/office/drawing/2014/main" id="{05A3632E-BDFD-41C4-B079-3A2493400C7F}"/>
              </a:ext>
            </a:extLst>
          </p:cNvPr>
          <p:cNvSpPr/>
          <p:nvPr/>
        </p:nvSpPr>
        <p:spPr>
          <a:xfrm>
            <a:off x="4851185" y="1299480"/>
            <a:ext cx="705925" cy="4517918"/>
          </a:xfrm>
          <a:prstGeom prst="leftBrace">
            <a:avLst>
              <a:gd name="adj1" fmla="val 160000"/>
              <a:gd name="adj2" fmla="val 50000"/>
            </a:avLst>
          </a:prstGeom>
          <a:ln w="38100">
            <a:solidFill>
              <a:srgbClr val="A0A1A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s-E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TextBox 5">
            <a:extLst>
              <a:ext uri="{FF2B5EF4-FFF2-40B4-BE49-F238E27FC236}">
                <a16:creationId xmlns:a16="http://schemas.microsoft.com/office/drawing/2014/main" id="{A3D01DCA-20AD-492B-9751-304CD3CFA204}"/>
              </a:ext>
            </a:extLst>
          </p:cNvPr>
          <p:cNvSpPr txBox="1"/>
          <p:nvPr/>
        </p:nvSpPr>
        <p:spPr>
          <a:xfrm>
            <a:off x="5372842" y="1977756"/>
            <a:ext cx="6552239" cy="615522"/>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3.1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Creating</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 web app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from</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built</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container</a:t>
            </a:r>
            <a:endPar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0599E4F0-8A44-4225-8B3C-1523D41986A4}"/>
              </a:ext>
            </a:extLst>
          </p:cNvPr>
          <p:cNvSpPr txBox="1"/>
          <p:nvPr/>
        </p:nvSpPr>
        <p:spPr>
          <a:xfrm>
            <a:off x="5372841" y="2963794"/>
            <a:ext cx="6370557" cy="94138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3.2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Creating</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 web app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from</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public</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Docker Hub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container</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image</a:t>
            </a:r>
            <a:endPar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10" name="TextBox 9">
            <a:extLst>
              <a:ext uri="{FF2B5EF4-FFF2-40B4-BE49-F238E27FC236}">
                <a16:creationId xmlns:a16="http://schemas.microsoft.com/office/drawing/2014/main" id="{40F8A75F-C401-4568-885E-AAC255BCE512}"/>
              </a:ext>
            </a:extLst>
          </p:cNvPr>
          <p:cNvSpPr txBox="1"/>
          <p:nvPr/>
        </p:nvSpPr>
        <p:spPr>
          <a:xfrm>
            <a:off x="5464977" y="4276110"/>
            <a:ext cx="6460104" cy="94138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3.1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Creating</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 web app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from</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private</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zure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Registry</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container</a:t>
            </a:r>
            <a:r>
              <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t>
            </a:r>
            <a:r>
              <a:rPr kumimoji="0" lang="es-E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image</a:t>
            </a:r>
            <a:endParaRPr kumimoji="0" lang="es-E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69571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842446-7D90-40A9-921E-BBC7209FC5AB}"/>
              </a:ext>
            </a:extLst>
          </p:cNvPr>
          <p:cNvSpPr>
            <a:spLocks noGrp="1"/>
          </p:cNvSpPr>
          <p:nvPr>
            <p:ph type="title"/>
          </p:nvPr>
        </p:nvSpPr>
        <p:spPr/>
        <p:txBody>
          <a:bodyPr/>
          <a:lstStyle/>
          <a:p>
            <a:r>
              <a:rPr lang="en-US"/>
              <a:t>Web App comes to Linux (container support)</a:t>
            </a:r>
          </a:p>
        </p:txBody>
      </p:sp>
      <p:sp>
        <p:nvSpPr>
          <p:cNvPr id="6" name="Text Placeholder 5">
            <a:extLst>
              <a:ext uri="{FF2B5EF4-FFF2-40B4-BE49-F238E27FC236}">
                <a16:creationId xmlns:a16="http://schemas.microsoft.com/office/drawing/2014/main" id="{9137BA8D-4A0C-4640-92F2-B5ACD54B5BC0}"/>
              </a:ext>
            </a:extLst>
          </p:cNvPr>
          <p:cNvSpPr>
            <a:spLocks noGrp="1"/>
          </p:cNvSpPr>
          <p:nvPr>
            <p:ph type="body" sz="quarter" idx="10"/>
          </p:nvPr>
        </p:nvSpPr>
        <p:spPr>
          <a:xfrm>
            <a:off x="269303" y="1187644"/>
            <a:ext cx="11655078" cy="673454"/>
          </a:xfrm>
        </p:spPr>
        <p:txBody>
          <a:bodyPr/>
          <a:lstStyle/>
          <a:p>
            <a:endParaRPr lang="en-US"/>
          </a:p>
        </p:txBody>
      </p:sp>
      <p:pic>
        <p:nvPicPr>
          <p:cNvPr id="1026" name="Picture 2" descr="Image result for azure we bpp">
            <a:extLst>
              <a:ext uri="{FF2B5EF4-FFF2-40B4-BE49-F238E27FC236}">
                <a16:creationId xmlns:a16="http://schemas.microsoft.com/office/drawing/2014/main" id="{AC8B7808-9E67-46B9-BEE6-EEEF8B5F7B6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4050" y="2433607"/>
            <a:ext cx="2300190" cy="12076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4E91ADD4-421A-4FFD-B844-0AB853A44E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95189" y="2687356"/>
            <a:ext cx="1044940" cy="1044940"/>
          </a:xfrm>
          <a:prstGeom prst="rect">
            <a:avLst/>
          </a:prstGeom>
        </p:spPr>
      </p:pic>
      <p:pic>
        <p:nvPicPr>
          <p:cNvPr id="13" name="Picture 5" descr="image005">
            <a:extLst>
              <a:ext uri="{FF2B5EF4-FFF2-40B4-BE49-F238E27FC236}">
                <a16:creationId xmlns:a16="http://schemas.microsoft.com/office/drawing/2014/main" id="{152D76E2-F322-40CE-AFAC-F5519341466C}"/>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54851" y="2036013"/>
            <a:ext cx="2138200" cy="167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43DF5353-A288-4079-93EB-5AB279F9F26B}"/>
              </a:ext>
            </a:extLst>
          </p:cNvPr>
          <p:cNvSpPr txBox="1"/>
          <p:nvPr/>
        </p:nvSpPr>
        <p:spPr>
          <a:xfrm>
            <a:off x="1305225" y="1166952"/>
            <a:ext cx="4791617" cy="634443"/>
          </a:xfrm>
          <a:prstGeom prst="rect">
            <a:avLst/>
          </a:prstGeom>
          <a:solidFill>
            <a:schemeClr val="accent1"/>
          </a:solid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353535"/>
                </a:solidFill>
                <a:effectLst/>
                <a:uLnTx/>
                <a:uFillTx/>
                <a:latin typeface="Segoe UI Semilight"/>
                <a:ea typeface="+mn-ea"/>
                <a:cs typeface="+mn-cs"/>
              </a:rPr>
              <a:t>Bring your code </a:t>
            </a:r>
          </a:p>
        </p:txBody>
      </p:sp>
      <p:sp>
        <p:nvSpPr>
          <p:cNvPr id="15" name="TextBox 14">
            <a:extLst>
              <a:ext uri="{FF2B5EF4-FFF2-40B4-BE49-F238E27FC236}">
                <a16:creationId xmlns:a16="http://schemas.microsoft.com/office/drawing/2014/main" id="{1B3DD8F4-C327-4290-AF1A-902ACE7A3FEB}"/>
              </a:ext>
            </a:extLst>
          </p:cNvPr>
          <p:cNvSpPr txBox="1"/>
          <p:nvPr/>
        </p:nvSpPr>
        <p:spPr>
          <a:xfrm>
            <a:off x="6871912" y="1187781"/>
            <a:ext cx="4791617" cy="634443"/>
          </a:xfrm>
          <a:prstGeom prst="rect">
            <a:avLst/>
          </a:prstGeom>
          <a:solidFill>
            <a:schemeClr val="accent1"/>
          </a:solid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353535"/>
                </a:solidFill>
                <a:effectLst/>
                <a:uLnTx/>
                <a:uFillTx/>
                <a:latin typeface="Segoe UI Semilight"/>
                <a:ea typeface="+mn-ea"/>
                <a:cs typeface="+mn-cs"/>
              </a:rPr>
              <a:t>Bring your container</a:t>
            </a:r>
          </a:p>
        </p:txBody>
      </p:sp>
      <p:sp>
        <p:nvSpPr>
          <p:cNvPr id="2" name="Plus Sign 1">
            <a:extLst>
              <a:ext uri="{FF2B5EF4-FFF2-40B4-BE49-F238E27FC236}">
                <a16:creationId xmlns:a16="http://schemas.microsoft.com/office/drawing/2014/main" id="{CED329FF-1B1F-4D29-BA77-638732CDC722}"/>
              </a:ext>
            </a:extLst>
          </p:cNvPr>
          <p:cNvSpPr/>
          <p:nvPr/>
        </p:nvSpPr>
        <p:spPr bwMode="auto">
          <a:xfrm>
            <a:off x="2454862" y="2662074"/>
            <a:ext cx="798972" cy="750665"/>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 name="Picture 8" descr="PHP.png">
            <a:extLst>
              <a:ext uri="{FF2B5EF4-FFF2-40B4-BE49-F238E27FC236}">
                <a16:creationId xmlns:a16="http://schemas.microsoft.com/office/drawing/2014/main" id="{1933C9F3-B1A3-404B-B401-5DA58FCB012F}"/>
              </a:ext>
            </a:extLst>
          </p:cNvPr>
          <p:cNvPicPr>
            <a:picLocks noChangeAspect="1"/>
          </p:cNvPicPr>
          <p:nvPr/>
        </p:nvPicPr>
        <p:blipFill>
          <a:blip r:embed="rId7" cstate="print">
            <a:extLst/>
          </a:blip>
          <a:stretch>
            <a:fillRect/>
          </a:stretch>
        </p:blipFill>
        <p:spPr>
          <a:xfrm>
            <a:off x="3648440" y="2513626"/>
            <a:ext cx="625793" cy="347459"/>
          </a:xfrm>
          <a:prstGeom prst="rect">
            <a:avLst/>
          </a:prstGeom>
        </p:spPr>
      </p:pic>
      <p:pic>
        <p:nvPicPr>
          <p:cNvPr id="10" name="Picture 9">
            <a:extLst>
              <a:ext uri="{FF2B5EF4-FFF2-40B4-BE49-F238E27FC236}">
                <a16:creationId xmlns:a16="http://schemas.microsoft.com/office/drawing/2014/main" id="{6B6EFBEE-1745-4572-A3A0-C94FBE99964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95272" y="3667420"/>
            <a:ext cx="889714" cy="248301"/>
          </a:xfrm>
          <a:prstGeom prst="rect">
            <a:avLst/>
          </a:prstGeom>
        </p:spPr>
      </p:pic>
      <p:pic>
        <p:nvPicPr>
          <p:cNvPr id="14" name="Picture 13">
            <a:extLst>
              <a:ext uri="{FF2B5EF4-FFF2-40B4-BE49-F238E27FC236}">
                <a16:creationId xmlns:a16="http://schemas.microsoft.com/office/drawing/2014/main" id="{7E43273E-563B-4F1A-9ABD-EB82981B47D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81963" y="2509460"/>
            <a:ext cx="412911" cy="473974"/>
          </a:xfrm>
          <a:prstGeom prst="rect">
            <a:avLst/>
          </a:prstGeom>
        </p:spPr>
      </p:pic>
      <p:sp>
        <p:nvSpPr>
          <p:cNvPr id="4" name="TextBox 3">
            <a:extLst>
              <a:ext uri="{FF2B5EF4-FFF2-40B4-BE49-F238E27FC236}">
                <a16:creationId xmlns:a16="http://schemas.microsoft.com/office/drawing/2014/main" id="{B3C97987-8DF5-4F70-8D98-51C7F348660F}"/>
              </a:ext>
            </a:extLst>
          </p:cNvPr>
          <p:cNvSpPr txBox="1"/>
          <p:nvPr/>
        </p:nvSpPr>
        <p:spPr>
          <a:xfrm>
            <a:off x="3089521" y="3540942"/>
            <a:ext cx="1501329" cy="544688"/>
          </a:xfrm>
          <a:prstGeom prst="rect">
            <a:avLst/>
          </a:prstGeom>
          <a:noFill/>
        </p:spPr>
        <p:txBody>
          <a:bodyPr wrap="square" lIns="182854" tIns="146284" rIns="182854" bIns="14628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NET Core</a:t>
            </a:r>
          </a:p>
        </p:txBody>
      </p:sp>
      <p:sp>
        <p:nvSpPr>
          <p:cNvPr id="16" name="TextBox 15">
            <a:extLst>
              <a:ext uri="{FF2B5EF4-FFF2-40B4-BE49-F238E27FC236}">
                <a16:creationId xmlns:a16="http://schemas.microsoft.com/office/drawing/2014/main" id="{FB6E925A-32E8-4DCA-87C8-1D016B586021}"/>
              </a:ext>
            </a:extLst>
          </p:cNvPr>
          <p:cNvSpPr txBox="1"/>
          <p:nvPr/>
        </p:nvSpPr>
        <p:spPr>
          <a:xfrm>
            <a:off x="7942927" y="3653563"/>
            <a:ext cx="2983407" cy="544688"/>
          </a:xfrm>
          <a:prstGeom prst="rect">
            <a:avLst/>
          </a:prstGeom>
          <a:noFill/>
        </p:spPr>
        <p:txBody>
          <a:bodyPr wrap="square" lIns="182854" tIns="146284" rIns="182854" bIns="14628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Web App for Containers</a:t>
            </a:r>
          </a:p>
        </p:txBody>
      </p:sp>
      <p:sp>
        <p:nvSpPr>
          <p:cNvPr id="17" name="Rectangle 16">
            <a:extLst>
              <a:ext uri="{FF2B5EF4-FFF2-40B4-BE49-F238E27FC236}">
                <a16:creationId xmlns:a16="http://schemas.microsoft.com/office/drawing/2014/main" id="{650BF473-AB7D-4113-8707-B041313841D9}"/>
              </a:ext>
            </a:extLst>
          </p:cNvPr>
          <p:cNvSpPr/>
          <p:nvPr/>
        </p:nvSpPr>
        <p:spPr>
          <a:xfrm>
            <a:off x="707993" y="4932148"/>
            <a:ext cx="11014780" cy="1300878"/>
          </a:xfrm>
          <a:prstGeom prst="rect">
            <a:avLst/>
          </a:prstGeom>
          <a:solidFill>
            <a:schemeClr val="bg1">
              <a:lumMod val="95000"/>
            </a:schemeClr>
          </a:solidFill>
        </p:spPr>
        <p:txBody>
          <a:bodyPr wrap="square">
            <a:spAutoFit/>
          </a:bodyPr>
          <a:lstStyle/>
          <a:p>
            <a:pPr marL="687256" marR="0" lvl="0" indent="-571390" algn="ctr" defTabSz="932293"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700" b="1"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endParaRPr>
          </a:p>
          <a:p>
            <a:pPr marL="687256" marR="0" lvl="0" indent="-571390" algn="ctr" defTabSz="932293"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en-US" sz="2100" b="1"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Deploy to Azure in seconds </a:t>
            </a:r>
          </a:p>
          <a:p>
            <a:pPr marL="687256" marR="0" lvl="0" indent="-571390" algn="ctr" defTabSz="932293"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en-US" sz="2100" b="1"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Scale easily on demand</a:t>
            </a:r>
          </a:p>
          <a:p>
            <a:pPr marL="687256" marR="0" lvl="0" indent="-571390" algn="ctr" defTabSz="932293"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en-US" sz="2100" b="1"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rPr>
              <a:t>Designed for your agile web development needs</a:t>
            </a:r>
          </a:p>
          <a:p>
            <a:pPr marL="687256" marR="0" lvl="0" indent="-571390" algn="ctr" defTabSz="932293"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700" b="1" i="0" u="none" strike="noStrike" kern="1200" cap="none" spc="0" normalizeH="0" baseline="0" noProof="0">
              <a:ln>
                <a:noFill/>
              </a:ln>
              <a:solidFill>
                <a:srgbClr val="737373"/>
              </a:solidFill>
              <a:effectLst/>
              <a:uLnTx/>
              <a:uFillTx/>
              <a:latin typeface="Segoe UI Semilight"/>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A7863972-D3C7-41E9-BBD4-B4FD0D6DE2FE}"/>
              </a:ext>
            </a:extLst>
          </p:cNvPr>
          <p:cNvCxnSpPr>
            <a:cxnSpLocks/>
          </p:cNvCxnSpPr>
          <p:nvPr/>
        </p:nvCxnSpPr>
        <p:spPr>
          <a:xfrm>
            <a:off x="6315740" y="1361408"/>
            <a:ext cx="0" cy="2827891"/>
          </a:xfrm>
          <a:prstGeom prst="line">
            <a:avLst/>
          </a:prstGeom>
          <a:ln>
            <a:solidFill>
              <a:schemeClr val="accent6">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0054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B7E02-BCA9-4FDC-95D6-2424EE7771EF}"/>
              </a:ext>
            </a:extLst>
          </p:cNvPr>
          <p:cNvSpPr>
            <a:spLocks noGrp="1"/>
          </p:cNvSpPr>
          <p:nvPr>
            <p:ph type="title"/>
          </p:nvPr>
        </p:nvSpPr>
        <p:spPr/>
        <p:txBody>
          <a:bodyPr/>
          <a:lstStyle/>
          <a:p>
            <a:r>
              <a:rPr lang="en-US"/>
              <a:t>Deployment Life Cycle </a:t>
            </a:r>
          </a:p>
        </p:txBody>
      </p:sp>
      <p:sp>
        <p:nvSpPr>
          <p:cNvPr id="8" name="Rectangle 7">
            <a:extLst>
              <a:ext uri="{FF2B5EF4-FFF2-40B4-BE49-F238E27FC236}">
                <a16:creationId xmlns:a16="http://schemas.microsoft.com/office/drawing/2014/main" id="{FDE9087E-3BDD-43E3-9AD5-94A1E65DEE40}"/>
              </a:ext>
            </a:extLst>
          </p:cNvPr>
          <p:cNvSpPr/>
          <p:nvPr/>
        </p:nvSpPr>
        <p:spPr bwMode="auto">
          <a:xfrm>
            <a:off x="5361815" y="3121775"/>
            <a:ext cx="4738686" cy="24262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extBox 8">
            <a:extLst>
              <a:ext uri="{FF2B5EF4-FFF2-40B4-BE49-F238E27FC236}">
                <a16:creationId xmlns:a16="http://schemas.microsoft.com/office/drawing/2014/main" id="{DAC95385-C6CB-431A-9D55-C715608772E2}"/>
              </a:ext>
            </a:extLst>
          </p:cNvPr>
          <p:cNvSpPr txBox="1"/>
          <p:nvPr/>
        </p:nvSpPr>
        <p:spPr>
          <a:xfrm>
            <a:off x="2091503" y="4086319"/>
            <a:ext cx="993240" cy="189860"/>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Developers</a:t>
            </a:r>
          </a:p>
        </p:txBody>
      </p:sp>
      <p:sp>
        <p:nvSpPr>
          <p:cNvPr id="10" name="TextBox 9">
            <a:extLst>
              <a:ext uri="{FF2B5EF4-FFF2-40B4-BE49-F238E27FC236}">
                <a16:creationId xmlns:a16="http://schemas.microsoft.com/office/drawing/2014/main" id="{20B32136-4808-45D2-8F4C-D0C207950481}"/>
              </a:ext>
            </a:extLst>
          </p:cNvPr>
          <p:cNvSpPr txBox="1"/>
          <p:nvPr/>
        </p:nvSpPr>
        <p:spPr>
          <a:xfrm>
            <a:off x="3941517" y="2193592"/>
            <a:ext cx="926175" cy="379719"/>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Github</a:t>
            </a: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repos</a:t>
            </a:r>
          </a:p>
        </p:txBody>
      </p:sp>
      <p:sp>
        <p:nvSpPr>
          <p:cNvPr id="11" name="TextBox 10">
            <a:extLst>
              <a:ext uri="{FF2B5EF4-FFF2-40B4-BE49-F238E27FC236}">
                <a16:creationId xmlns:a16="http://schemas.microsoft.com/office/drawing/2014/main" id="{91C139BC-A10C-4967-8A03-FECF9FAB60F8}"/>
              </a:ext>
            </a:extLst>
          </p:cNvPr>
          <p:cNvSpPr txBox="1"/>
          <p:nvPr/>
        </p:nvSpPr>
        <p:spPr>
          <a:xfrm>
            <a:off x="3941517" y="3465098"/>
            <a:ext cx="926175" cy="379719"/>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Local Git repos</a:t>
            </a:r>
          </a:p>
        </p:txBody>
      </p:sp>
      <p:sp>
        <p:nvSpPr>
          <p:cNvPr id="12" name="TextBox 11">
            <a:extLst>
              <a:ext uri="{FF2B5EF4-FFF2-40B4-BE49-F238E27FC236}">
                <a16:creationId xmlns:a16="http://schemas.microsoft.com/office/drawing/2014/main" id="{FAE123E7-0FA9-462C-A782-D7C2BFE6C99B}"/>
              </a:ext>
            </a:extLst>
          </p:cNvPr>
          <p:cNvSpPr txBox="1"/>
          <p:nvPr/>
        </p:nvSpPr>
        <p:spPr>
          <a:xfrm>
            <a:off x="5405158" y="2193592"/>
            <a:ext cx="926175" cy="189860"/>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VSTS</a:t>
            </a:r>
          </a:p>
        </p:txBody>
      </p:sp>
      <p:sp>
        <p:nvSpPr>
          <p:cNvPr id="13" name="TextBox 12">
            <a:extLst>
              <a:ext uri="{FF2B5EF4-FFF2-40B4-BE49-F238E27FC236}">
                <a16:creationId xmlns:a16="http://schemas.microsoft.com/office/drawing/2014/main" id="{A5216B0E-5940-4BB2-9975-85340E2D9D78}"/>
              </a:ext>
            </a:extLst>
          </p:cNvPr>
          <p:cNvSpPr txBox="1"/>
          <p:nvPr/>
        </p:nvSpPr>
        <p:spPr>
          <a:xfrm>
            <a:off x="6712726" y="2197761"/>
            <a:ext cx="2150235" cy="189962"/>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Container Registry</a:t>
            </a:r>
          </a:p>
        </p:txBody>
      </p:sp>
      <p:sp>
        <p:nvSpPr>
          <p:cNvPr id="14" name="TextBox 13">
            <a:extLst>
              <a:ext uri="{FF2B5EF4-FFF2-40B4-BE49-F238E27FC236}">
                <a16:creationId xmlns:a16="http://schemas.microsoft.com/office/drawing/2014/main" id="{88F3EA55-AF7A-42F2-8B5F-50E2EB4BBA08}"/>
              </a:ext>
            </a:extLst>
          </p:cNvPr>
          <p:cNvSpPr txBox="1"/>
          <p:nvPr/>
        </p:nvSpPr>
        <p:spPr>
          <a:xfrm>
            <a:off x="5746014" y="3956218"/>
            <a:ext cx="926175" cy="189860"/>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dis</a:t>
            </a: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cache</a:t>
            </a:r>
          </a:p>
        </p:txBody>
      </p:sp>
      <p:sp>
        <p:nvSpPr>
          <p:cNvPr id="15" name="TextBox 14">
            <a:extLst>
              <a:ext uri="{FF2B5EF4-FFF2-40B4-BE49-F238E27FC236}">
                <a16:creationId xmlns:a16="http://schemas.microsoft.com/office/drawing/2014/main" id="{6F513D0D-4358-4443-BA4A-150AE3AB7F69}"/>
              </a:ext>
            </a:extLst>
          </p:cNvPr>
          <p:cNvSpPr txBox="1"/>
          <p:nvPr/>
        </p:nvSpPr>
        <p:spPr>
          <a:xfrm>
            <a:off x="7113724" y="4034418"/>
            <a:ext cx="1239878" cy="379719"/>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Web App for Containers</a:t>
            </a:r>
          </a:p>
        </p:txBody>
      </p:sp>
      <p:sp>
        <p:nvSpPr>
          <p:cNvPr id="16" name="TextBox 15">
            <a:extLst>
              <a:ext uri="{FF2B5EF4-FFF2-40B4-BE49-F238E27FC236}">
                <a16:creationId xmlns:a16="http://schemas.microsoft.com/office/drawing/2014/main" id="{F2A562AB-737A-430D-A729-7CB504E25C69}"/>
              </a:ext>
            </a:extLst>
          </p:cNvPr>
          <p:cNvSpPr txBox="1"/>
          <p:nvPr/>
        </p:nvSpPr>
        <p:spPr>
          <a:xfrm>
            <a:off x="8641177" y="3956217"/>
            <a:ext cx="1239878" cy="379924"/>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database for MySQL</a:t>
            </a:r>
          </a:p>
        </p:txBody>
      </p:sp>
      <p:sp>
        <p:nvSpPr>
          <p:cNvPr id="17" name="TextBox 16">
            <a:extLst>
              <a:ext uri="{FF2B5EF4-FFF2-40B4-BE49-F238E27FC236}">
                <a16:creationId xmlns:a16="http://schemas.microsoft.com/office/drawing/2014/main" id="{2D6BADBB-FFB2-4043-B2B6-ABF10D59AD9A}"/>
              </a:ext>
            </a:extLst>
          </p:cNvPr>
          <p:cNvSpPr txBox="1"/>
          <p:nvPr/>
        </p:nvSpPr>
        <p:spPr>
          <a:xfrm>
            <a:off x="7113724" y="5266179"/>
            <a:ext cx="1239878" cy="189860"/>
          </a:xfrm>
          <a:prstGeom prst="rect">
            <a:avLst/>
          </a:prstGeom>
          <a:noFill/>
        </p:spPr>
        <p:txBody>
          <a:bodyPr wrap="square" lIns="0" tIns="0" rIns="0" bIns="0" rtlCol="0">
            <a:spAutoFit/>
          </a:bodyPr>
          <a:lstStyle/>
          <a:p>
            <a:pPr marL="0" marR="0" lvl="0" indent="0" algn="ctr" defTabSz="914139"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CDN</a:t>
            </a:r>
          </a:p>
        </p:txBody>
      </p:sp>
      <p:sp>
        <p:nvSpPr>
          <p:cNvPr id="19" name="Freeform 20">
            <a:extLst>
              <a:ext uri="{FF2B5EF4-FFF2-40B4-BE49-F238E27FC236}">
                <a16:creationId xmlns:a16="http://schemas.microsoft.com/office/drawing/2014/main" id="{49BA42DE-CADD-4C30-83FC-10580AC91D21}"/>
              </a:ext>
            </a:extLst>
          </p:cNvPr>
          <p:cNvSpPr>
            <a:spLocks noChangeAspect="1" noEditPoints="1"/>
          </p:cNvSpPr>
          <p:nvPr/>
        </p:nvSpPr>
        <p:spPr bwMode="black">
          <a:xfrm>
            <a:off x="2296824" y="2965613"/>
            <a:ext cx="582594" cy="374802"/>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0" normalizeH="0" baseline="0" noProof="0">
              <a:ln>
                <a:noFill/>
              </a:ln>
              <a:solidFill>
                <a:srgbClr val="292929">
                  <a:lumMod val="50000"/>
                </a:srgbClr>
              </a:solidFill>
              <a:effectLst/>
              <a:uLnTx/>
              <a:uFillTx/>
              <a:latin typeface="Segoe Light" pitchFamily="34" charset="0"/>
              <a:ea typeface="+mn-ea"/>
              <a:cs typeface="+mn-cs"/>
            </a:endParaRPr>
          </a:p>
        </p:txBody>
      </p:sp>
      <p:sp>
        <p:nvSpPr>
          <p:cNvPr id="21" name="Freeform 20">
            <a:extLst>
              <a:ext uri="{FF2B5EF4-FFF2-40B4-BE49-F238E27FC236}">
                <a16:creationId xmlns:a16="http://schemas.microsoft.com/office/drawing/2014/main" id="{37703319-176C-4592-8764-BEDB2871D01B}"/>
              </a:ext>
            </a:extLst>
          </p:cNvPr>
          <p:cNvSpPr>
            <a:spLocks noChangeAspect="1" noEditPoints="1"/>
          </p:cNvSpPr>
          <p:nvPr/>
        </p:nvSpPr>
        <p:spPr bwMode="black">
          <a:xfrm>
            <a:off x="2296824" y="3672749"/>
            <a:ext cx="582594" cy="374802"/>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marL="0" marR="0" lvl="0" indent="0" algn="l" defTabSz="72600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0" normalizeH="0" baseline="0" noProof="0">
              <a:ln>
                <a:noFill/>
              </a:ln>
              <a:solidFill>
                <a:srgbClr val="292929">
                  <a:lumMod val="50000"/>
                </a:srgbClr>
              </a:solidFill>
              <a:effectLst/>
              <a:uLnTx/>
              <a:uFillTx/>
              <a:latin typeface="Segoe Light" pitchFamily="34" charset="0"/>
              <a:ea typeface="+mn-ea"/>
              <a:cs typeface="+mn-cs"/>
            </a:endParaRPr>
          </a:p>
        </p:txBody>
      </p:sp>
      <p:pic>
        <p:nvPicPr>
          <p:cNvPr id="35" name="Picture 34">
            <a:extLst>
              <a:ext uri="{FF2B5EF4-FFF2-40B4-BE49-F238E27FC236}">
                <a16:creationId xmlns:a16="http://schemas.microsoft.com/office/drawing/2014/main" id="{056CDF56-F244-4DDE-99DE-450A7E956A7C}"/>
              </a:ext>
            </a:extLst>
          </p:cNvPr>
          <p:cNvPicPr>
            <a:picLocks noChangeAspect="1"/>
          </p:cNvPicPr>
          <p:nvPr/>
        </p:nvPicPr>
        <p:blipFill>
          <a:blip r:embed="rId3"/>
          <a:stretch>
            <a:fillRect/>
          </a:stretch>
        </p:blipFill>
        <p:spPr>
          <a:xfrm>
            <a:off x="5947295" y="3370418"/>
            <a:ext cx="523612" cy="533544"/>
          </a:xfrm>
          <a:prstGeom prst="rect">
            <a:avLst/>
          </a:prstGeom>
        </p:spPr>
      </p:pic>
      <p:pic>
        <p:nvPicPr>
          <p:cNvPr id="36" name="Picture 35">
            <a:extLst>
              <a:ext uri="{FF2B5EF4-FFF2-40B4-BE49-F238E27FC236}">
                <a16:creationId xmlns:a16="http://schemas.microsoft.com/office/drawing/2014/main" id="{C433F26B-2D09-4C23-BA68-77ACDDC319C6}"/>
              </a:ext>
            </a:extLst>
          </p:cNvPr>
          <p:cNvPicPr>
            <a:picLocks noChangeAspect="1"/>
          </p:cNvPicPr>
          <p:nvPr/>
        </p:nvPicPr>
        <p:blipFill>
          <a:blip r:embed="rId4"/>
          <a:stretch>
            <a:fillRect/>
          </a:stretch>
        </p:blipFill>
        <p:spPr>
          <a:xfrm>
            <a:off x="9013063" y="3294346"/>
            <a:ext cx="485532" cy="638348"/>
          </a:xfrm>
          <a:prstGeom prst="rect">
            <a:avLst/>
          </a:prstGeom>
        </p:spPr>
      </p:pic>
      <p:pic>
        <p:nvPicPr>
          <p:cNvPr id="37" name="Picture 36">
            <a:extLst>
              <a:ext uri="{FF2B5EF4-FFF2-40B4-BE49-F238E27FC236}">
                <a16:creationId xmlns:a16="http://schemas.microsoft.com/office/drawing/2014/main" id="{3621BC08-D8AC-414B-AE46-2D696FC2F835}"/>
              </a:ext>
            </a:extLst>
          </p:cNvPr>
          <p:cNvPicPr>
            <a:picLocks noChangeAspect="1"/>
          </p:cNvPicPr>
          <p:nvPr/>
        </p:nvPicPr>
        <p:blipFill>
          <a:blip r:embed="rId5"/>
          <a:stretch>
            <a:fillRect/>
          </a:stretch>
        </p:blipFill>
        <p:spPr>
          <a:xfrm>
            <a:off x="7409976" y="4827910"/>
            <a:ext cx="647375" cy="438269"/>
          </a:xfrm>
          <a:prstGeom prst="rect">
            <a:avLst/>
          </a:prstGeom>
        </p:spPr>
      </p:pic>
      <p:pic>
        <p:nvPicPr>
          <p:cNvPr id="27652" name="Picture 4" descr="Image result for github icon">
            <a:extLst>
              <a:ext uri="{FF2B5EF4-FFF2-40B4-BE49-F238E27FC236}">
                <a16:creationId xmlns:a16="http://schemas.microsoft.com/office/drawing/2014/main" id="{A90ADB99-8980-4FC1-84F3-C821075E0BC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86342" y="1531927"/>
            <a:ext cx="631965" cy="631965"/>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Image result for git repos icon">
            <a:extLst>
              <a:ext uri="{FF2B5EF4-FFF2-40B4-BE49-F238E27FC236}">
                <a16:creationId xmlns:a16="http://schemas.microsoft.com/office/drawing/2014/main" id="{3B8DB72A-1868-42B1-A31A-824E21B41DC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58027"/>
          <a:stretch/>
        </p:blipFill>
        <p:spPr bwMode="auto">
          <a:xfrm>
            <a:off x="4178278" y="2972022"/>
            <a:ext cx="452652" cy="450335"/>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Arrow Connector 40">
            <a:extLst>
              <a:ext uri="{FF2B5EF4-FFF2-40B4-BE49-F238E27FC236}">
                <a16:creationId xmlns:a16="http://schemas.microsoft.com/office/drawing/2014/main" id="{E4ED89EA-5DB7-42BA-BB21-9CB598893904}"/>
              </a:ext>
            </a:extLst>
          </p:cNvPr>
          <p:cNvCxnSpPr/>
          <p:nvPr/>
        </p:nvCxnSpPr>
        <p:spPr>
          <a:xfrm flipH="1">
            <a:off x="2879420" y="3187129"/>
            <a:ext cx="1260520"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CCC29E9-2293-46C8-9EF0-70E34463D894}"/>
              </a:ext>
            </a:extLst>
          </p:cNvPr>
          <p:cNvCxnSpPr/>
          <p:nvPr/>
        </p:nvCxnSpPr>
        <p:spPr>
          <a:xfrm>
            <a:off x="4404603" y="2617759"/>
            <a:ext cx="0" cy="323284"/>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59FD1B1-4D0F-458A-8712-53E9C41A017F}"/>
              </a:ext>
            </a:extLst>
          </p:cNvPr>
          <p:cNvCxnSpPr>
            <a:cxnSpLocks/>
            <a:stCxn id="27652" idx="3"/>
          </p:cNvCxnSpPr>
          <p:nvPr/>
        </p:nvCxnSpPr>
        <p:spPr>
          <a:xfrm>
            <a:off x="4718307" y="1847909"/>
            <a:ext cx="999310" cy="2276"/>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7C9412F-B7E3-4CDB-99A5-A1CA9A464FB1}"/>
              </a:ext>
            </a:extLst>
          </p:cNvPr>
          <p:cNvCxnSpPr>
            <a:cxnSpLocks/>
          </p:cNvCxnSpPr>
          <p:nvPr/>
        </p:nvCxnSpPr>
        <p:spPr>
          <a:xfrm>
            <a:off x="6096054" y="1850186"/>
            <a:ext cx="1233343"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65430F9-7EF1-4B5A-8C0B-4F351C5C4053}"/>
              </a:ext>
            </a:extLst>
          </p:cNvPr>
          <p:cNvCxnSpPr/>
          <p:nvPr/>
        </p:nvCxnSpPr>
        <p:spPr>
          <a:xfrm>
            <a:off x="7728062" y="2364979"/>
            <a:ext cx="0" cy="957378"/>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F4343D8-2589-4D76-B23C-F0677F25BD08}"/>
              </a:ext>
            </a:extLst>
          </p:cNvPr>
          <p:cNvCxnSpPr>
            <a:cxnSpLocks/>
          </p:cNvCxnSpPr>
          <p:nvPr/>
        </p:nvCxnSpPr>
        <p:spPr>
          <a:xfrm rot="16200000" flipH="1" flipV="1">
            <a:off x="4457005" y="-305044"/>
            <a:ext cx="1411840" cy="5132335"/>
          </a:xfrm>
          <a:prstGeom prst="bentConnector3">
            <a:avLst>
              <a:gd name="adj1" fmla="val -15871"/>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450C129-A908-4CA2-BC8F-F4D42938681A}"/>
              </a:ext>
            </a:extLst>
          </p:cNvPr>
          <p:cNvCxnSpPr>
            <a:cxnSpLocks/>
            <a:endCxn id="46" idx="1"/>
          </p:cNvCxnSpPr>
          <p:nvPr/>
        </p:nvCxnSpPr>
        <p:spPr>
          <a:xfrm>
            <a:off x="6481757" y="3668741"/>
            <a:ext cx="778048" cy="5045"/>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324AC71-B244-4106-B5C9-381B2C83DE85}"/>
              </a:ext>
            </a:extLst>
          </p:cNvPr>
          <p:cNvCxnSpPr>
            <a:cxnSpLocks/>
            <a:stCxn id="46" idx="3"/>
          </p:cNvCxnSpPr>
          <p:nvPr/>
        </p:nvCxnSpPr>
        <p:spPr>
          <a:xfrm flipV="1">
            <a:off x="8107397" y="3668742"/>
            <a:ext cx="866180" cy="5044"/>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A8AE4B-A6FE-46FA-923D-5DAFB1147170}"/>
              </a:ext>
            </a:extLst>
          </p:cNvPr>
          <p:cNvCxnSpPr/>
          <p:nvPr/>
        </p:nvCxnSpPr>
        <p:spPr>
          <a:xfrm>
            <a:off x="7733663" y="4414541"/>
            <a:ext cx="0" cy="41337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pic>
        <p:nvPicPr>
          <p:cNvPr id="27658" name="Picture 10" descr="Image result for Visual Studio Code">
            <a:extLst>
              <a:ext uri="{FF2B5EF4-FFF2-40B4-BE49-F238E27FC236}">
                <a16:creationId xmlns:a16="http://schemas.microsoft.com/office/drawing/2014/main" id="{757C18A6-0E7F-4688-8DE3-01AC6E13A7C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36217" y="1512558"/>
            <a:ext cx="628779" cy="628779"/>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or: Elbow 38">
            <a:extLst>
              <a:ext uri="{FF2B5EF4-FFF2-40B4-BE49-F238E27FC236}">
                <a16:creationId xmlns:a16="http://schemas.microsoft.com/office/drawing/2014/main" id="{E3CFC1A4-9D4E-40B1-8E0C-DED573A12221}"/>
              </a:ext>
            </a:extLst>
          </p:cNvPr>
          <p:cNvCxnSpPr>
            <a:cxnSpLocks/>
          </p:cNvCxnSpPr>
          <p:nvPr/>
        </p:nvCxnSpPr>
        <p:spPr>
          <a:xfrm rot="10800000" flipV="1">
            <a:off x="2873117" y="3187129"/>
            <a:ext cx="1274491" cy="688731"/>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46" name="Picture 5" descr="image005">
            <a:extLst>
              <a:ext uri="{FF2B5EF4-FFF2-40B4-BE49-F238E27FC236}">
                <a16:creationId xmlns:a16="http://schemas.microsoft.com/office/drawing/2014/main" id="{ADBB5D73-7224-45AF-8B3B-6F405E55986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9803" y="3341156"/>
            <a:ext cx="847592" cy="665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07162597-5AE6-4B7C-8ED3-CD4E23F295F0}"/>
              </a:ext>
            </a:extLst>
          </p:cNvPr>
          <p:cNvPicPr>
            <a:picLocks noChangeAspect="1"/>
          </p:cNvPicPr>
          <p:nvPr/>
        </p:nvPicPr>
        <p:blipFill>
          <a:blip r:embed="rId10"/>
          <a:stretch>
            <a:fillRect/>
          </a:stretch>
        </p:blipFill>
        <p:spPr>
          <a:xfrm>
            <a:off x="7326103" y="1563829"/>
            <a:ext cx="615959" cy="600062"/>
          </a:xfrm>
          <a:prstGeom prst="rect">
            <a:avLst/>
          </a:prstGeom>
        </p:spPr>
      </p:pic>
    </p:spTree>
    <p:extLst>
      <p:ext uri="{BB962C8B-B14F-4D97-AF65-F5344CB8AC3E}">
        <p14:creationId xmlns:p14="http://schemas.microsoft.com/office/powerpoint/2010/main" val="221379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d Kubernetes (Preview)</a:t>
            </a:r>
          </a:p>
        </p:txBody>
      </p:sp>
      <p:sp>
        <p:nvSpPr>
          <p:cNvPr id="4" name="Text Placeholder 3"/>
          <p:cNvSpPr>
            <a:spLocks noGrp="1"/>
          </p:cNvSpPr>
          <p:nvPr>
            <p:ph type="body" sz="quarter" idx="13"/>
          </p:nvPr>
        </p:nvSpPr>
        <p:spPr>
          <a:xfrm>
            <a:off x="269241" y="3696618"/>
            <a:ext cx="4840694" cy="452590"/>
          </a:xfrm>
        </p:spPr>
        <p:txBody>
          <a:bodyPr/>
          <a:lstStyle/>
          <a:p>
            <a:r>
              <a:rPr lang="en-US" dirty="0"/>
              <a:t>Azure Container Service</a:t>
            </a:r>
          </a:p>
        </p:txBody>
      </p:sp>
    </p:spTree>
    <p:extLst>
      <p:ext uri="{BB962C8B-B14F-4D97-AF65-F5344CB8AC3E}">
        <p14:creationId xmlns:p14="http://schemas.microsoft.com/office/powerpoint/2010/main" val="452673936"/>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d Kubernetes: Overview</a:t>
            </a:r>
          </a:p>
        </p:txBody>
      </p:sp>
      <p:sp>
        <p:nvSpPr>
          <p:cNvPr id="3" name="Text Placeholder 2"/>
          <p:cNvSpPr>
            <a:spLocks noGrp="1"/>
          </p:cNvSpPr>
          <p:nvPr>
            <p:ph type="body" sz="quarter" idx="10"/>
          </p:nvPr>
        </p:nvSpPr>
        <p:spPr>
          <a:xfrm>
            <a:off x="269303" y="1187962"/>
            <a:ext cx="11655078" cy="4121582"/>
          </a:xfrm>
        </p:spPr>
        <p:txBody>
          <a:bodyPr/>
          <a:lstStyle/>
          <a:p>
            <a:r>
              <a:rPr lang="en-US" dirty="0"/>
              <a:t>Fully managed Kubernetes control plane</a:t>
            </a:r>
          </a:p>
          <a:p>
            <a:r>
              <a:rPr lang="en-US" dirty="0"/>
              <a:t>Quick provisioning (&lt;2min)</a:t>
            </a:r>
          </a:p>
          <a:p>
            <a:r>
              <a:rPr lang="en-US" dirty="0"/>
              <a:t>SLA-available service (99.95%)</a:t>
            </a:r>
          </a:p>
          <a:p>
            <a:r>
              <a:rPr lang="en-US" dirty="0"/>
              <a:t>Transparently scales with cluster size:</a:t>
            </a:r>
          </a:p>
          <a:p>
            <a:pPr lvl="1"/>
            <a:r>
              <a:rPr lang="en-US" dirty="0"/>
              <a:t>1, 50, 100, 250, 500, etc.</a:t>
            </a:r>
          </a:p>
          <a:p>
            <a:r>
              <a:rPr lang="en-US" dirty="0"/>
              <a:t>Upstream Kubernetes</a:t>
            </a:r>
          </a:p>
          <a:p>
            <a:pPr lvl="1"/>
            <a:r>
              <a:rPr lang="en-US" dirty="0"/>
              <a:t>Extensions from ecosystem</a:t>
            </a:r>
          </a:p>
        </p:txBody>
      </p:sp>
    </p:spTree>
    <p:extLst>
      <p:ext uri="{BB962C8B-B14F-4D97-AF65-F5344CB8AC3E}">
        <p14:creationId xmlns:p14="http://schemas.microsoft.com/office/powerpoint/2010/main" val="2523503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62847E6-6738-40C9-B6FD-9107ABB1774D}"/>
              </a:ext>
            </a:extLst>
          </p:cNvPr>
          <p:cNvGrpSpPr/>
          <p:nvPr/>
        </p:nvGrpSpPr>
        <p:grpSpPr>
          <a:xfrm>
            <a:off x="80084" y="1451349"/>
            <a:ext cx="7808746" cy="3834865"/>
            <a:chOff x="80084" y="2284881"/>
            <a:chExt cx="7808746" cy="3834865"/>
          </a:xfrm>
        </p:grpSpPr>
        <p:sp>
          <p:nvSpPr>
            <p:cNvPr id="4" name="Rectangle 3"/>
            <p:cNvSpPr/>
            <p:nvPr/>
          </p:nvSpPr>
          <p:spPr bwMode="auto">
            <a:xfrm>
              <a:off x="80084" y="2284881"/>
              <a:ext cx="7808746" cy="3834865"/>
            </a:xfrm>
            <a:prstGeom prst="rect">
              <a:avLst/>
            </a:prstGeom>
            <a:solidFill>
              <a:schemeClr val="accent1">
                <a:alpha val="3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2"/>
            <p:cNvSpPr txBox="1">
              <a:spLocks/>
            </p:cNvSpPr>
            <p:nvPr/>
          </p:nvSpPr>
          <p:spPr>
            <a:xfrm>
              <a:off x="180501" y="2614719"/>
              <a:ext cx="7080838" cy="949575"/>
            </a:xfrm>
            <a:prstGeom prst="rect">
              <a:avLst/>
            </a:prstGeom>
          </p:spPr>
          <p:txBody>
            <a:bodyPr vert="horz" wrap="square" lIns="143407" tIns="89630" rIns="143407" bIns="8963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4703"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Thanks for Joining</a:t>
              </a:r>
            </a:p>
            <a:p>
              <a:pPr marL="0" marR="0" lvl="0" indent="0" algn="l" defTabSz="914016" rtl="0" eaLnBrk="1" fontAlgn="auto" latinLnBrk="0" hangingPunct="1">
                <a:lnSpc>
                  <a:spcPct val="90000"/>
                </a:lnSpc>
                <a:spcBef>
                  <a:spcPct val="0"/>
                </a:spcBef>
                <a:spcAft>
                  <a:spcPts val="0"/>
                </a:spcAft>
                <a:buClrTx/>
                <a:buSzTx/>
                <a:buFontTx/>
                <a:buNone/>
                <a:tabLst/>
                <a:defRPr/>
              </a:pPr>
              <a:endParaRPr kumimoji="0" lang="en-US" sz="4703" b="0" i="0" u="none" strike="noStrike" kern="1200" cap="none" spc="-3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6" name="Title 2"/>
            <p:cNvSpPr txBox="1">
              <a:spLocks/>
            </p:cNvSpPr>
            <p:nvPr/>
          </p:nvSpPr>
          <p:spPr>
            <a:xfrm>
              <a:off x="186721" y="4301312"/>
              <a:ext cx="7529046" cy="1458779"/>
            </a:xfrm>
            <a:prstGeom prst="rect">
              <a:avLst/>
            </a:prstGeom>
          </p:spPr>
          <p:txBody>
            <a:bodyPr vert="horz" wrap="square" lIns="143407" tIns="89630" rIns="143407" bIns="8963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2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Shimail Gillani</a:t>
              </a:r>
            </a:p>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2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loud Solution Architect</a:t>
              </a:r>
            </a:p>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29"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Microsoft Education</a:t>
              </a:r>
            </a:p>
          </p:txBody>
        </p:sp>
      </p:grpSp>
    </p:spTree>
    <p:extLst>
      <p:ext uri="{BB962C8B-B14F-4D97-AF65-F5344CB8AC3E}">
        <p14:creationId xmlns:p14="http://schemas.microsoft.com/office/powerpoint/2010/main" val="178727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0AF4604-3AF7-449A-93E7-BBBF990E62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29754" y="1130888"/>
            <a:ext cx="2632734" cy="2666345"/>
          </a:xfrm>
          <a:prstGeom prst="rect">
            <a:avLst/>
          </a:prstGeom>
        </p:spPr>
      </p:pic>
      <p:pic>
        <p:nvPicPr>
          <p:cNvPr id="11" name="Picture 10">
            <a:extLst>
              <a:ext uri="{FF2B5EF4-FFF2-40B4-BE49-F238E27FC236}">
                <a16:creationId xmlns:a16="http://schemas.microsoft.com/office/drawing/2014/main" id="{994332A5-CA1C-49F1-B078-2C622AB62E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73230" y="164628"/>
            <a:ext cx="1259305" cy="268862"/>
          </a:xfrm>
          <a:prstGeom prst="rect">
            <a:avLst/>
          </a:prstGeom>
        </p:spPr>
      </p:pic>
      <p:pic>
        <p:nvPicPr>
          <p:cNvPr id="8" name="Picture 7">
            <a:extLst>
              <a:ext uri="{FF2B5EF4-FFF2-40B4-BE49-F238E27FC236}">
                <a16:creationId xmlns:a16="http://schemas.microsoft.com/office/drawing/2014/main" id="{85383799-9631-48A7-89D9-AB516FD9D5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13044" y="612318"/>
            <a:ext cx="1520372" cy="1520372"/>
          </a:xfrm>
          <a:prstGeom prst="rect">
            <a:avLst/>
          </a:prstGeom>
        </p:spPr>
      </p:pic>
      <p:pic>
        <p:nvPicPr>
          <p:cNvPr id="5" name="Picture 4" descr="A picture containing indoor, sitting, cake, table&#10;&#10;Description generated with high confidence">
            <a:extLst>
              <a:ext uri="{FF2B5EF4-FFF2-40B4-BE49-F238E27FC236}">
                <a16:creationId xmlns:a16="http://schemas.microsoft.com/office/drawing/2014/main" id="{77E8C806-9D85-400D-BA9F-328136EF3D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15290" y="2835939"/>
            <a:ext cx="1872125" cy="2815226"/>
          </a:xfrm>
          <a:prstGeom prst="rect">
            <a:avLst/>
          </a:prstGeom>
        </p:spPr>
      </p:pic>
      <p:sp>
        <p:nvSpPr>
          <p:cNvPr id="13" name="Rectangle 12">
            <a:extLst>
              <a:ext uri="{FF2B5EF4-FFF2-40B4-BE49-F238E27FC236}">
                <a16:creationId xmlns:a16="http://schemas.microsoft.com/office/drawing/2014/main" id="{01789AE7-7FD0-41C4-AE44-A84A673CCEA5}"/>
              </a:ext>
            </a:extLst>
          </p:cNvPr>
          <p:cNvSpPr/>
          <p:nvPr/>
        </p:nvSpPr>
        <p:spPr bwMode="auto">
          <a:xfrm>
            <a:off x="0" y="5601800"/>
            <a:ext cx="12192001" cy="1211816"/>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Shimail.Gillani@Microsoft.Com  </a:t>
            </a:r>
            <a:b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br>
            <a:r>
              <a:rPr kumimoji="0" lang="en-US" sz="2400" b="1" i="1"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witter</a:t>
            </a:r>
            <a: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2400" b="1" i="0" u="none" strike="noStrike" kern="1200" cap="none" spc="0" normalizeH="0" baseline="0" noProof="0" dirty="0" err="1">
                <a:ln>
                  <a:noFill/>
                </a:ln>
                <a:solidFill>
                  <a:srgbClr val="FFFFFF"/>
                </a:solidFill>
                <a:effectLst/>
                <a:uLnTx/>
                <a:uFillTx/>
                <a:latin typeface="Segoe UI Semilight" panose="020B0402040204020203" pitchFamily="34" charset="0"/>
                <a:ea typeface="+mn-ea"/>
                <a:cs typeface="Segoe UI Semilight" panose="020B0402040204020203" pitchFamily="34" charset="0"/>
              </a:rPr>
              <a:t>ChefGillani</a:t>
            </a:r>
            <a: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2400" b="1" i="1"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GitHub</a:t>
            </a:r>
            <a: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r>
              <a:rPr kumimoji="0" lang="en-US" sz="2400" b="1" i="0" u="none" strike="noStrike" kern="1200" cap="none" spc="0" normalizeH="0" baseline="0" noProof="0" dirty="0" err="1">
                <a:ln>
                  <a:noFill/>
                </a:ln>
                <a:solidFill>
                  <a:srgbClr val="FFFFFF"/>
                </a:solidFill>
                <a:effectLst/>
                <a:uLnTx/>
                <a:uFillTx/>
                <a:latin typeface="Segoe UI Semilight" panose="020B0402040204020203" pitchFamily="34" charset="0"/>
                <a:ea typeface="+mn-ea"/>
                <a:cs typeface="Segoe UI Semilight" panose="020B0402040204020203" pitchFamily="34" charset="0"/>
              </a:rPr>
              <a:t>ChefGillani</a:t>
            </a:r>
            <a:r>
              <a:rPr kumimoji="0" lang="en-US" sz="18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a:t>
            </a:r>
            <a:endPar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eam Blog: https://blogs.msdn.microsoft.com/AzureEdu</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solidFill>
                  <a:sysClr val="windowText" lastClr="000000"/>
                </a:solidFill>
              </a:ln>
              <a:solidFill>
                <a:srgbClr val="FFFFFF"/>
              </a:solidFill>
              <a:effectLst/>
              <a:uLnTx/>
              <a:uFillTx/>
              <a:latin typeface="Segoe UI"/>
              <a:ea typeface="Segoe UI" pitchFamily="34" charset="0"/>
              <a:cs typeface="Segoe UI" pitchFamily="34" charset="0"/>
            </a:endParaRPr>
          </a:p>
        </p:txBody>
      </p:sp>
      <p:sp>
        <p:nvSpPr>
          <p:cNvPr id="14" name="engage">
            <a:extLst>
              <a:ext uri="{FF2B5EF4-FFF2-40B4-BE49-F238E27FC236}">
                <a16:creationId xmlns:a16="http://schemas.microsoft.com/office/drawing/2014/main" id="{AFF1FD11-7684-40A2-A3FF-4F5765630490}"/>
              </a:ext>
            </a:extLst>
          </p:cNvPr>
          <p:cNvSpPr/>
          <p:nvPr/>
        </p:nvSpPr>
        <p:spPr bwMode="auto">
          <a:xfrm>
            <a:off x="52289" y="13983"/>
            <a:ext cx="11754901" cy="55318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spAutoFit/>
          </a:bodyPr>
          <a:lstStyle/>
          <a:p>
            <a:pPr marL="342900" marR="0" lvl="0"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Shimail Gillani </a:t>
            </a:r>
            <a:r>
              <a:rPr kumimoji="0" lang="en-US" sz="2400" b="0" i="0" u="none" strike="noStrike" kern="1200" cap="none" spc="0" normalizeH="0" baseline="0" noProof="0" dirty="0">
                <a:ln>
                  <a:noFill/>
                </a:ln>
                <a:gradFill>
                  <a:gsLst>
                    <a:gs pos="7143">
                      <a:srgbClr val="505050"/>
                    </a:gs>
                    <a:gs pos="20536">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Cloud Solution Architect ( aka </a:t>
            </a:r>
            <a:r>
              <a:rPr kumimoji="0" lang="en-US" sz="20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a:t>
            </a:r>
            <a:r>
              <a:rPr kumimoji="0" lang="en-US" sz="3200" b="1" i="0" u="none" strike="noStrike" kern="1200" cap="none" spc="0" normalizeH="0" baseline="0" noProof="0" dirty="0" err="1">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ChefGillani</a:t>
            </a:r>
            <a:r>
              <a:rPr kumimoji="0" lang="en-US" sz="32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 )</a:t>
            </a:r>
            <a:br>
              <a:rPr kumimoji="0" lang="en-US" sz="32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br>
            <a:endParaRPr kumimoji="0" lang="en-US" sz="28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Recently Moved to Dallas, from New Jersey</a:t>
            </a:r>
            <a:br>
              <a:rPr kumimoji="0" lang="en-US" sz="36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br>
            <a:br>
              <a:rPr kumimoji="0" lang="en-US" sz="1050" b="0" i="0" u="none" strike="noStrike" kern="1200" cap="none" spc="0" normalizeH="0" baseline="0" noProof="0" dirty="0">
                <a:ln>
                  <a:noFill/>
                </a:ln>
                <a:gradFill>
                  <a:gsLst>
                    <a:gs pos="7143">
                      <a:srgbClr val="505050"/>
                    </a:gs>
                    <a:gs pos="20536">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endParaRPr kumimoji="0" lang="en-US" sz="1600" b="0" i="0" u="none" strike="noStrike" kern="1200" cap="none" spc="0" normalizeH="0" baseline="0" noProof="0" dirty="0">
              <a:ln>
                <a:noFill/>
              </a:ln>
              <a:gradFill>
                <a:gsLst>
                  <a:gs pos="7143">
                    <a:srgbClr val="505050"/>
                  </a:gs>
                  <a:gs pos="20536">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Hybrid DevOps</a:t>
            </a: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 – 20+ Years </a:t>
            </a:r>
            <a:b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b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3 at Microsoft and Previously Ernst &amp; Young)</a:t>
            </a:r>
          </a:p>
          <a:p>
            <a:pPr marL="342900" marR="0" lvl="0"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1" i="0" u="sng"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MS Customer Success Unit</a:t>
            </a: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 - Solutions Architects team</a:t>
            </a:r>
            <a:b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b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					</a:t>
            </a:r>
          </a:p>
          <a:p>
            <a:pPr marL="342900" marR="0" lvl="0"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Currently Helping: </a:t>
            </a:r>
            <a:b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br>
            <a:endPar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endParaRPr>
          </a:p>
          <a:p>
            <a:pPr marL="800100" marR="0" lvl="1"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Duke, U-Miami, U-South Florida, U-Texas, </a:t>
            </a:r>
          </a:p>
          <a:p>
            <a:pPr marL="800100" marR="0" lvl="1"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Dallas and Minnesota – Colleges and University System</a:t>
            </a:r>
            <a:b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br>
            <a:endPar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05050">
                    <a:lumMod val="50000"/>
                  </a:srgbClr>
                </a:solidFill>
                <a:effectLst/>
                <a:uLnTx/>
                <a:uFillTx/>
                <a:latin typeface="Segoe UI Semilight" panose="020B0402040204020203" pitchFamily="34" charset="0"/>
                <a:ea typeface="+mn-ea"/>
                <a:cs typeface="Segoe UI Semilight" panose="020B0402040204020203" pitchFamily="34" charset="0"/>
              </a:rPr>
              <a:t>Previously Helped: Yale, Princeton, Johns Hopkins and U-North Carolina</a:t>
            </a:r>
            <a:endParaRPr kumimoji="0" lang="en-US" sz="2400" b="0" i="0" u="none" strike="noStrike" kern="1200" cap="none" spc="0" normalizeH="0" baseline="0" noProof="0" dirty="0">
              <a:ln>
                <a:noFill/>
              </a:ln>
              <a:gradFill>
                <a:gsLst>
                  <a:gs pos="7143">
                    <a:srgbClr val="505050"/>
                  </a:gs>
                  <a:gs pos="20536">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1196941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a:t>
            </a:r>
          </a:p>
        </p:txBody>
      </p:sp>
      <p:sp>
        <p:nvSpPr>
          <p:cNvPr id="3" name="Content Placeholder 2"/>
          <p:cNvSpPr>
            <a:spLocks noGrp="1"/>
          </p:cNvSpPr>
          <p:nvPr>
            <p:ph idx="1"/>
          </p:nvPr>
        </p:nvSpPr>
        <p:spPr>
          <a:xfrm>
            <a:off x="331962" y="1082574"/>
            <a:ext cx="11151916" cy="1551194"/>
          </a:xfrm>
        </p:spPr>
        <p:txBody>
          <a:bodyPr/>
          <a:lstStyle/>
          <a:p>
            <a:r>
              <a:rPr lang="en-US" sz="2400" dirty="0"/>
              <a:t>Next generation of virtualization</a:t>
            </a:r>
          </a:p>
          <a:p>
            <a:r>
              <a:rPr lang="en-US" sz="2400" dirty="0"/>
              <a:t>Isolated environment to run your applications</a:t>
            </a:r>
          </a:p>
          <a:p>
            <a:r>
              <a:rPr lang="en-US" sz="2400" dirty="0"/>
              <a:t>Lightweight alternative to virtual machines</a:t>
            </a:r>
          </a:p>
          <a:p>
            <a:r>
              <a:rPr lang="en-US" sz="2400" dirty="0"/>
              <a:t>Smaller, less costly, faster to start, and self-contained</a:t>
            </a:r>
          </a:p>
        </p:txBody>
      </p:sp>
      <p:sp>
        <p:nvSpPr>
          <p:cNvPr id="4" name="Rectangle 3"/>
          <p:cNvSpPr/>
          <p:nvPr/>
        </p:nvSpPr>
        <p:spPr>
          <a:xfrm>
            <a:off x="1304693" y="5691288"/>
            <a:ext cx="4415882"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ost Operating System</a:t>
            </a:r>
          </a:p>
        </p:txBody>
      </p:sp>
      <p:sp>
        <p:nvSpPr>
          <p:cNvPr id="5" name="Rectangle 4"/>
          <p:cNvSpPr/>
          <p:nvPr/>
        </p:nvSpPr>
        <p:spPr>
          <a:xfrm>
            <a:off x="1304693" y="5179396"/>
            <a:ext cx="4415882" cy="42247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pervisor</a:t>
            </a:r>
          </a:p>
        </p:txBody>
      </p:sp>
      <p:sp>
        <p:nvSpPr>
          <p:cNvPr id="6" name="Rectangle 5"/>
          <p:cNvSpPr/>
          <p:nvPr/>
        </p:nvSpPr>
        <p:spPr>
          <a:xfrm>
            <a:off x="1304693" y="4221910"/>
            <a:ext cx="1405054" cy="86807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Guest OS</a:t>
            </a:r>
          </a:p>
        </p:txBody>
      </p:sp>
      <p:sp>
        <p:nvSpPr>
          <p:cNvPr id="7" name="Rectangle 6"/>
          <p:cNvSpPr/>
          <p:nvPr/>
        </p:nvSpPr>
        <p:spPr>
          <a:xfrm>
            <a:off x="1304693" y="3710018"/>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ibraries</a:t>
            </a:r>
          </a:p>
        </p:txBody>
      </p:sp>
      <p:sp>
        <p:nvSpPr>
          <p:cNvPr id="8" name="Rectangle 7"/>
          <p:cNvSpPr/>
          <p:nvPr/>
        </p:nvSpPr>
        <p:spPr>
          <a:xfrm>
            <a:off x="1304693" y="3198126"/>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pp</a:t>
            </a:r>
          </a:p>
        </p:txBody>
      </p:sp>
      <p:sp>
        <p:nvSpPr>
          <p:cNvPr id="9" name="Rectangle 8"/>
          <p:cNvSpPr/>
          <p:nvPr/>
        </p:nvSpPr>
        <p:spPr>
          <a:xfrm>
            <a:off x="2810107" y="4221910"/>
            <a:ext cx="1405054" cy="86807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Guest OS</a:t>
            </a:r>
          </a:p>
        </p:txBody>
      </p:sp>
      <p:sp>
        <p:nvSpPr>
          <p:cNvPr id="10" name="Rectangle 9"/>
          <p:cNvSpPr/>
          <p:nvPr/>
        </p:nvSpPr>
        <p:spPr>
          <a:xfrm>
            <a:off x="2810107" y="3710018"/>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ibraries</a:t>
            </a:r>
          </a:p>
        </p:txBody>
      </p:sp>
      <p:sp>
        <p:nvSpPr>
          <p:cNvPr id="11" name="Rectangle 10"/>
          <p:cNvSpPr/>
          <p:nvPr/>
        </p:nvSpPr>
        <p:spPr>
          <a:xfrm>
            <a:off x="2810107" y="3198126"/>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pp</a:t>
            </a:r>
          </a:p>
        </p:txBody>
      </p:sp>
      <p:sp>
        <p:nvSpPr>
          <p:cNvPr id="12" name="Rectangle 11"/>
          <p:cNvSpPr/>
          <p:nvPr/>
        </p:nvSpPr>
        <p:spPr>
          <a:xfrm>
            <a:off x="4315521" y="4221910"/>
            <a:ext cx="1405054" cy="86807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Guest OS</a:t>
            </a:r>
          </a:p>
        </p:txBody>
      </p:sp>
      <p:sp>
        <p:nvSpPr>
          <p:cNvPr id="13" name="Rectangle 12"/>
          <p:cNvSpPr/>
          <p:nvPr/>
        </p:nvSpPr>
        <p:spPr>
          <a:xfrm>
            <a:off x="4315521" y="3710018"/>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ibraries</a:t>
            </a:r>
          </a:p>
        </p:txBody>
      </p:sp>
      <p:sp>
        <p:nvSpPr>
          <p:cNvPr id="14" name="Rectangle 13"/>
          <p:cNvSpPr/>
          <p:nvPr/>
        </p:nvSpPr>
        <p:spPr>
          <a:xfrm>
            <a:off x="4315521" y="3198126"/>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pp</a:t>
            </a:r>
          </a:p>
        </p:txBody>
      </p:sp>
      <p:sp>
        <p:nvSpPr>
          <p:cNvPr id="15" name="Rectangle 14"/>
          <p:cNvSpPr/>
          <p:nvPr/>
        </p:nvSpPr>
        <p:spPr>
          <a:xfrm>
            <a:off x="6501162" y="5691288"/>
            <a:ext cx="4415882"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Operating System</a:t>
            </a:r>
          </a:p>
        </p:txBody>
      </p:sp>
      <p:sp>
        <p:nvSpPr>
          <p:cNvPr id="16" name="Rectangle 15"/>
          <p:cNvSpPr/>
          <p:nvPr/>
        </p:nvSpPr>
        <p:spPr>
          <a:xfrm>
            <a:off x="6501162" y="5179396"/>
            <a:ext cx="4415882" cy="42247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Container Engine</a:t>
            </a:r>
          </a:p>
        </p:txBody>
      </p:sp>
      <p:sp>
        <p:nvSpPr>
          <p:cNvPr id="17" name="Rectangle 16"/>
          <p:cNvSpPr/>
          <p:nvPr/>
        </p:nvSpPr>
        <p:spPr>
          <a:xfrm>
            <a:off x="6501162" y="4667504"/>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ibraries</a:t>
            </a:r>
          </a:p>
        </p:txBody>
      </p:sp>
      <p:sp>
        <p:nvSpPr>
          <p:cNvPr id="18" name="Rectangle 17"/>
          <p:cNvSpPr/>
          <p:nvPr/>
        </p:nvSpPr>
        <p:spPr>
          <a:xfrm>
            <a:off x="6501162" y="4155612"/>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pp</a:t>
            </a:r>
          </a:p>
        </p:txBody>
      </p:sp>
      <p:sp>
        <p:nvSpPr>
          <p:cNvPr id="19" name="Rectangle 18"/>
          <p:cNvSpPr/>
          <p:nvPr/>
        </p:nvSpPr>
        <p:spPr>
          <a:xfrm>
            <a:off x="8006576" y="4667504"/>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ibraries</a:t>
            </a:r>
          </a:p>
        </p:txBody>
      </p:sp>
      <p:sp>
        <p:nvSpPr>
          <p:cNvPr id="20" name="Rectangle 19"/>
          <p:cNvSpPr/>
          <p:nvPr/>
        </p:nvSpPr>
        <p:spPr>
          <a:xfrm>
            <a:off x="8006576" y="4155612"/>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pp</a:t>
            </a:r>
          </a:p>
        </p:txBody>
      </p:sp>
      <p:sp>
        <p:nvSpPr>
          <p:cNvPr id="21" name="Rectangle 20"/>
          <p:cNvSpPr/>
          <p:nvPr/>
        </p:nvSpPr>
        <p:spPr>
          <a:xfrm>
            <a:off x="9511990" y="4667504"/>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ibraries</a:t>
            </a:r>
          </a:p>
        </p:txBody>
      </p:sp>
      <p:sp>
        <p:nvSpPr>
          <p:cNvPr id="22" name="Rectangle 21"/>
          <p:cNvSpPr/>
          <p:nvPr/>
        </p:nvSpPr>
        <p:spPr>
          <a:xfrm>
            <a:off x="9511990" y="4155612"/>
            <a:ext cx="1405054" cy="422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pp</a:t>
            </a:r>
          </a:p>
        </p:txBody>
      </p:sp>
      <p:sp>
        <p:nvSpPr>
          <p:cNvPr id="23" name="TextBox 22"/>
          <p:cNvSpPr txBox="1"/>
          <p:nvPr/>
        </p:nvSpPr>
        <p:spPr>
          <a:xfrm>
            <a:off x="1215483" y="2736461"/>
            <a:ext cx="450509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5888"/>
                </a:solidFill>
                <a:effectLst/>
                <a:uLnTx/>
                <a:uFillTx/>
                <a:latin typeface="Segoe UI"/>
                <a:ea typeface="+mn-ea"/>
                <a:cs typeface="+mn-cs"/>
              </a:rPr>
              <a:t>Virtual Machines</a:t>
            </a:r>
          </a:p>
        </p:txBody>
      </p:sp>
      <p:sp>
        <p:nvSpPr>
          <p:cNvPr id="24" name="TextBox 23"/>
          <p:cNvSpPr txBox="1"/>
          <p:nvPr/>
        </p:nvSpPr>
        <p:spPr>
          <a:xfrm>
            <a:off x="6456557" y="3690424"/>
            <a:ext cx="450509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35888"/>
                </a:solidFill>
                <a:effectLst/>
                <a:uLnTx/>
                <a:uFillTx/>
                <a:latin typeface="Segoe UI"/>
                <a:ea typeface="+mn-ea"/>
                <a:cs typeface="+mn-cs"/>
              </a:rPr>
              <a:t>Containers</a:t>
            </a:r>
          </a:p>
        </p:txBody>
      </p:sp>
    </p:spTree>
    <p:extLst>
      <p:ext uri="{BB962C8B-B14F-4D97-AF65-F5344CB8AC3E}">
        <p14:creationId xmlns:p14="http://schemas.microsoft.com/office/powerpoint/2010/main" val="18338945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hy Containers?</a:t>
            </a:r>
          </a:p>
        </p:txBody>
      </p:sp>
      <p:sp>
        <p:nvSpPr>
          <p:cNvPr id="178" name="Freeform 19"/>
          <p:cNvSpPr/>
          <p:nvPr/>
        </p:nvSpPr>
        <p:spPr bwMode="auto">
          <a:xfrm rot="20107192" flipV="1">
            <a:off x="5687696" y="3674719"/>
            <a:ext cx="3282312" cy="2273616"/>
          </a:xfrm>
          <a:custGeom>
            <a:avLst/>
            <a:gdLst>
              <a:gd name="connsiteX0" fmla="*/ 1495425 w 1581150"/>
              <a:gd name="connsiteY0" fmla="*/ 3181350 h 3810000"/>
              <a:gd name="connsiteX1" fmla="*/ 0 w 1581150"/>
              <a:gd name="connsiteY1" fmla="*/ 3810000 h 3810000"/>
              <a:gd name="connsiteX2" fmla="*/ 9525 w 1581150"/>
              <a:gd name="connsiteY2" fmla="*/ 0 h 3810000"/>
              <a:gd name="connsiteX3" fmla="*/ 1581150 w 1581150"/>
              <a:gd name="connsiteY3" fmla="*/ 2657475 h 3810000"/>
              <a:gd name="connsiteX4" fmla="*/ 1495425 w 1581150"/>
              <a:gd name="connsiteY4" fmla="*/ 3181350 h 38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1150" h="3810000">
                <a:moveTo>
                  <a:pt x="1495425" y="3181350"/>
                </a:moveTo>
                <a:lnTo>
                  <a:pt x="0" y="3810000"/>
                </a:lnTo>
                <a:lnTo>
                  <a:pt x="9525" y="0"/>
                </a:lnTo>
                <a:lnTo>
                  <a:pt x="1581150" y="2657475"/>
                </a:lnTo>
                <a:lnTo>
                  <a:pt x="1495425" y="3181350"/>
                </a:lnTo>
                <a:close/>
              </a:path>
            </a:pathLst>
          </a:cu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Freeform 14"/>
          <p:cNvSpPr/>
          <p:nvPr/>
        </p:nvSpPr>
        <p:spPr bwMode="auto">
          <a:xfrm rot="873293">
            <a:off x="6060158" y="2111766"/>
            <a:ext cx="2631825" cy="2079829"/>
          </a:xfrm>
          <a:custGeom>
            <a:avLst/>
            <a:gdLst>
              <a:gd name="connsiteX0" fmla="*/ 1495425 w 1581150"/>
              <a:gd name="connsiteY0" fmla="*/ 3181350 h 3810000"/>
              <a:gd name="connsiteX1" fmla="*/ 0 w 1581150"/>
              <a:gd name="connsiteY1" fmla="*/ 3810000 h 3810000"/>
              <a:gd name="connsiteX2" fmla="*/ 9525 w 1581150"/>
              <a:gd name="connsiteY2" fmla="*/ 0 h 3810000"/>
              <a:gd name="connsiteX3" fmla="*/ 1581150 w 1581150"/>
              <a:gd name="connsiteY3" fmla="*/ 2657475 h 3810000"/>
              <a:gd name="connsiteX4" fmla="*/ 1495425 w 1581150"/>
              <a:gd name="connsiteY4" fmla="*/ 3181350 h 38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1150" h="3810000">
                <a:moveTo>
                  <a:pt x="1495425" y="3181350"/>
                </a:moveTo>
                <a:lnTo>
                  <a:pt x="0" y="3810000"/>
                </a:lnTo>
                <a:lnTo>
                  <a:pt x="9525" y="0"/>
                </a:lnTo>
                <a:lnTo>
                  <a:pt x="1581150" y="2657475"/>
                </a:lnTo>
                <a:lnTo>
                  <a:pt x="1495425" y="3181350"/>
                </a:lnTo>
                <a:close/>
              </a:path>
            </a:pathLst>
          </a:cu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
          <p:cNvGrpSpPr/>
          <p:nvPr/>
        </p:nvGrpSpPr>
        <p:grpSpPr>
          <a:xfrm>
            <a:off x="423124" y="1815256"/>
            <a:ext cx="5966207" cy="2081572"/>
            <a:chOff x="274320" y="1850690"/>
            <a:chExt cx="6087569" cy="2123915"/>
          </a:xfrm>
          <a:solidFill>
            <a:schemeClr val="tx1"/>
          </a:solidFill>
        </p:grpSpPr>
        <p:sp>
          <p:nvSpPr>
            <p:cNvPr id="181" name="Rectangle 7"/>
            <p:cNvSpPr/>
            <p:nvPr/>
          </p:nvSpPr>
          <p:spPr bwMode="auto">
            <a:xfrm>
              <a:off x="274320" y="1850691"/>
              <a:ext cx="6087569" cy="21239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2" name="Group 11"/>
            <p:cNvGrpSpPr/>
            <p:nvPr/>
          </p:nvGrpSpPr>
          <p:grpSpPr>
            <a:xfrm>
              <a:off x="332688" y="2025674"/>
              <a:ext cx="1854728" cy="1903427"/>
              <a:chOff x="399450" y="1873274"/>
              <a:chExt cx="1854728" cy="1903427"/>
            </a:xfrm>
            <a:grpFill/>
          </p:grpSpPr>
          <p:sp>
            <p:nvSpPr>
              <p:cNvPr id="359" name="Oval 2"/>
              <p:cNvSpPr/>
              <p:nvPr/>
            </p:nvSpPr>
            <p:spPr bwMode="auto">
              <a:xfrm>
                <a:off x="720437" y="1873274"/>
                <a:ext cx="1343570" cy="1343570"/>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Freeform 3"/>
              <p:cNvSpPr>
                <a:spLocks noChangeAspect="1" noEditPoints="1"/>
              </p:cNvSpPr>
              <p:nvPr/>
            </p:nvSpPr>
            <p:spPr bwMode="auto">
              <a:xfrm>
                <a:off x="968996" y="2194743"/>
                <a:ext cx="846453" cy="700632"/>
              </a:xfrm>
              <a:custGeom>
                <a:avLst/>
                <a:gdLst>
                  <a:gd name="T0" fmla="*/ 363 w 400"/>
                  <a:gd name="T1" fmla="*/ 109 h 330"/>
                  <a:gd name="T2" fmla="*/ 340 w 400"/>
                  <a:gd name="T3" fmla="*/ 131 h 330"/>
                  <a:gd name="T4" fmla="*/ 363 w 400"/>
                  <a:gd name="T5" fmla="*/ 154 h 330"/>
                  <a:gd name="T6" fmla="*/ 385 w 400"/>
                  <a:gd name="T7" fmla="*/ 131 h 330"/>
                  <a:gd name="T8" fmla="*/ 363 w 400"/>
                  <a:gd name="T9" fmla="*/ 109 h 330"/>
                  <a:gd name="T10" fmla="*/ 37 w 400"/>
                  <a:gd name="T11" fmla="*/ 109 h 330"/>
                  <a:gd name="T12" fmla="*/ 15 w 400"/>
                  <a:gd name="T13" fmla="*/ 131 h 330"/>
                  <a:gd name="T14" fmla="*/ 37 w 400"/>
                  <a:gd name="T15" fmla="*/ 154 h 330"/>
                  <a:gd name="T16" fmla="*/ 60 w 400"/>
                  <a:gd name="T17" fmla="*/ 131 h 330"/>
                  <a:gd name="T18" fmla="*/ 37 w 400"/>
                  <a:gd name="T19" fmla="*/ 109 h 330"/>
                  <a:gd name="T20" fmla="*/ 295 w 400"/>
                  <a:gd name="T21" fmla="*/ 67 h 330"/>
                  <a:gd name="T22" fmla="*/ 262 w 400"/>
                  <a:gd name="T23" fmla="*/ 101 h 330"/>
                  <a:gd name="T24" fmla="*/ 295 w 400"/>
                  <a:gd name="T25" fmla="*/ 135 h 330"/>
                  <a:gd name="T26" fmla="*/ 329 w 400"/>
                  <a:gd name="T27" fmla="*/ 101 h 330"/>
                  <a:gd name="T28" fmla="*/ 295 w 400"/>
                  <a:gd name="T29" fmla="*/ 67 h 330"/>
                  <a:gd name="T30" fmla="*/ 400 w 400"/>
                  <a:gd name="T31" fmla="*/ 272 h 330"/>
                  <a:gd name="T32" fmla="*/ 362 w 400"/>
                  <a:gd name="T33" fmla="*/ 272 h 330"/>
                  <a:gd name="T34" fmla="*/ 362 w 400"/>
                  <a:gd name="T35" fmla="*/ 202 h 330"/>
                  <a:gd name="T36" fmla="*/ 352 w 400"/>
                  <a:gd name="T37" fmla="*/ 169 h 330"/>
                  <a:gd name="T38" fmla="*/ 363 w 400"/>
                  <a:gd name="T39" fmla="*/ 167 h 330"/>
                  <a:gd name="T40" fmla="*/ 400 w 400"/>
                  <a:gd name="T41" fmla="*/ 204 h 330"/>
                  <a:gd name="T42" fmla="*/ 400 w 400"/>
                  <a:gd name="T43" fmla="*/ 272 h 330"/>
                  <a:gd name="T44" fmla="*/ 105 w 400"/>
                  <a:gd name="T45" fmla="*/ 67 h 330"/>
                  <a:gd name="T46" fmla="*/ 71 w 400"/>
                  <a:gd name="T47" fmla="*/ 101 h 330"/>
                  <a:gd name="T48" fmla="*/ 105 w 400"/>
                  <a:gd name="T49" fmla="*/ 135 h 330"/>
                  <a:gd name="T50" fmla="*/ 138 w 400"/>
                  <a:gd name="T51" fmla="*/ 101 h 330"/>
                  <a:gd name="T52" fmla="*/ 105 w 400"/>
                  <a:gd name="T53" fmla="*/ 67 h 330"/>
                  <a:gd name="T54" fmla="*/ 37 w 400"/>
                  <a:gd name="T55" fmla="*/ 167 h 330"/>
                  <a:gd name="T56" fmla="*/ 48 w 400"/>
                  <a:gd name="T57" fmla="*/ 169 h 330"/>
                  <a:gd name="T58" fmla="*/ 38 w 400"/>
                  <a:gd name="T59" fmla="*/ 202 h 330"/>
                  <a:gd name="T60" fmla="*/ 38 w 400"/>
                  <a:gd name="T61" fmla="*/ 272 h 330"/>
                  <a:gd name="T62" fmla="*/ 0 w 400"/>
                  <a:gd name="T63" fmla="*/ 272 h 330"/>
                  <a:gd name="T64" fmla="*/ 0 w 400"/>
                  <a:gd name="T65" fmla="*/ 204 h 330"/>
                  <a:gd name="T66" fmla="*/ 37 w 400"/>
                  <a:gd name="T67" fmla="*/ 167 h 330"/>
                  <a:gd name="T68" fmla="*/ 200 w 400"/>
                  <a:gd name="T69" fmla="*/ 0 h 330"/>
                  <a:gd name="T70" fmla="*/ 150 w 400"/>
                  <a:gd name="T71" fmla="*/ 50 h 330"/>
                  <a:gd name="T72" fmla="*/ 200 w 400"/>
                  <a:gd name="T73" fmla="*/ 100 h 330"/>
                  <a:gd name="T74" fmla="*/ 250 w 400"/>
                  <a:gd name="T75" fmla="*/ 50 h 330"/>
                  <a:gd name="T76" fmla="*/ 200 w 400"/>
                  <a:gd name="T77" fmla="*/ 0 h 330"/>
                  <a:gd name="T78" fmla="*/ 349 w 400"/>
                  <a:gd name="T79" fmla="*/ 299 h 330"/>
                  <a:gd name="T80" fmla="*/ 290 w 400"/>
                  <a:gd name="T81" fmla="*/ 299 h 330"/>
                  <a:gd name="T82" fmla="*/ 290 w 400"/>
                  <a:gd name="T83" fmla="*/ 191 h 330"/>
                  <a:gd name="T84" fmla="*/ 280 w 400"/>
                  <a:gd name="T85" fmla="*/ 150 h 330"/>
                  <a:gd name="T86" fmla="*/ 295 w 400"/>
                  <a:gd name="T87" fmla="*/ 148 h 330"/>
                  <a:gd name="T88" fmla="*/ 349 w 400"/>
                  <a:gd name="T89" fmla="*/ 202 h 330"/>
                  <a:gd name="T90" fmla="*/ 349 w 400"/>
                  <a:gd name="T91" fmla="*/ 299 h 330"/>
                  <a:gd name="T92" fmla="*/ 110 w 400"/>
                  <a:gd name="T93" fmla="*/ 191 h 330"/>
                  <a:gd name="T94" fmla="*/ 110 w 400"/>
                  <a:gd name="T95" fmla="*/ 299 h 330"/>
                  <a:gd name="T96" fmla="*/ 51 w 400"/>
                  <a:gd name="T97" fmla="*/ 299 h 330"/>
                  <a:gd name="T98" fmla="*/ 51 w 400"/>
                  <a:gd name="T99" fmla="*/ 202 h 330"/>
                  <a:gd name="T100" fmla="*/ 105 w 400"/>
                  <a:gd name="T101" fmla="*/ 148 h 330"/>
                  <a:gd name="T102" fmla="*/ 120 w 400"/>
                  <a:gd name="T103" fmla="*/ 150 h 330"/>
                  <a:gd name="T104" fmla="*/ 110 w 400"/>
                  <a:gd name="T105" fmla="*/ 191 h 330"/>
                  <a:gd name="T106" fmla="*/ 122 w 400"/>
                  <a:gd name="T107" fmla="*/ 330 h 330"/>
                  <a:gd name="T108" fmla="*/ 278 w 400"/>
                  <a:gd name="T109" fmla="*/ 330 h 330"/>
                  <a:gd name="T110" fmla="*/ 278 w 400"/>
                  <a:gd name="T111" fmla="*/ 191 h 330"/>
                  <a:gd name="T112" fmla="*/ 200 w 400"/>
                  <a:gd name="T113" fmla="*/ 113 h 330"/>
                  <a:gd name="T114" fmla="*/ 122 w 400"/>
                  <a:gd name="T115" fmla="*/ 191 h 330"/>
                  <a:gd name="T116" fmla="*/ 122 w 400"/>
                  <a:gd name="T11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0" h="330">
                    <a:moveTo>
                      <a:pt x="363" y="109"/>
                    </a:moveTo>
                    <a:cubicBezTo>
                      <a:pt x="350" y="109"/>
                      <a:pt x="340" y="119"/>
                      <a:pt x="340" y="131"/>
                    </a:cubicBezTo>
                    <a:cubicBezTo>
                      <a:pt x="340" y="144"/>
                      <a:pt x="350" y="154"/>
                      <a:pt x="363" y="154"/>
                    </a:cubicBezTo>
                    <a:cubicBezTo>
                      <a:pt x="375" y="154"/>
                      <a:pt x="385" y="144"/>
                      <a:pt x="385" y="131"/>
                    </a:cubicBezTo>
                    <a:cubicBezTo>
                      <a:pt x="385" y="119"/>
                      <a:pt x="375" y="109"/>
                      <a:pt x="363" y="109"/>
                    </a:cubicBezTo>
                    <a:close/>
                    <a:moveTo>
                      <a:pt x="37" y="109"/>
                    </a:moveTo>
                    <a:cubicBezTo>
                      <a:pt x="25" y="109"/>
                      <a:pt x="15" y="119"/>
                      <a:pt x="15" y="131"/>
                    </a:cubicBezTo>
                    <a:cubicBezTo>
                      <a:pt x="15" y="144"/>
                      <a:pt x="25" y="154"/>
                      <a:pt x="37" y="154"/>
                    </a:cubicBezTo>
                    <a:cubicBezTo>
                      <a:pt x="50" y="154"/>
                      <a:pt x="60" y="144"/>
                      <a:pt x="60" y="131"/>
                    </a:cubicBezTo>
                    <a:cubicBezTo>
                      <a:pt x="60" y="119"/>
                      <a:pt x="50" y="109"/>
                      <a:pt x="37" y="109"/>
                    </a:cubicBezTo>
                    <a:close/>
                    <a:moveTo>
                      <a:pt x="295" y="67"/>
                    </a:moveTo>
                    <a:cubicBezTo>
                      <a:pt x="277" y="67"/>
                      <a:pt x="262" y="83"/>
                      <a:pt x="262" y="101"/>
                    </a:cubicBezTo>
                    <a:cubicBezTo>
                      <a:pt x="262" y="120"/>
                      <a:pt x="277" y="135"/>
                      <a:pt x="295" y="135"/>
                    </a:cubicBezTo>
                    <a:cubicBezTo>
                      <a:pt x="314" y="135"/>
                      <a:pt x="329" y="120"/>
                      <a:pt x="329" y="101"/>
                    </a:cubicBezTo>
                    <a:cubicBezTo>
                      <a:pt x="329" y="83"/>
                      <a:pt x="314" y="67"/>
                      <a:pt x="295" y="67"/>
                    </a:cubicBezTo>
                    <a:close/>
                    <a:moveTo>
                      <a:pt x="400" y="272"/>
                    </a:moveTo>
                    <a:cubicBezTo>
                      <a:pt x="362" y="272"/>
                      <a:pt x="362" y="272"/>
                      <a:pt x="362" y="272"/>
                    </a:cubicBezTo>
                    <a:cubicBezTo>
                      <a:pt x="362" y="202"/>
                      <a:pt x="362" y="202"/>
                      <a:pt x="362" y="202"/>
                    </a:cubicBezTo>
                    <a:cubicBezTo>
                      <a:pt x="362" y="190"/>
                      <a:pt x="358" y="178"/>
                      <a:pt x="352" y="169"/>
                    </a:cubicBezTo>
                    <a:cubicBezTo>
                      <a:pt x="356" y="168"/>
                      <a:pt x="359" y="167"/>
                      <a:pt x="363" y="167"/>
                    </a:cubicBezTo>
                    <a:cubicBezTo>
                      <a:pt x="383" y="167"/>
                      <a:pt x="400" y="184"/>
                      <a:pt x="400" y="204"/>
                    </a:cubicBezTo>
                    <a:lnTo>
                      <a:pt x="400" y="272"/>
                    </a:lnTo>
                    <a:close/>
                    <a:moveTo>
                      <a:pt x="105" y="67"/>
                    </a:moveTo>
                    <a:cubicBezTo>
                      <a:pt x="86" y="67"/>
                      <a:pt x="71" y="83"/>
                      <a:pt x="71" y="101"/>
                    </a:cubicBezTo>
                    <a:cubicBezTo>
                      <a:pt x="71" y="120"/>
                      <a:pt x="86" y="135"/>
                      <a:pt x="105" y="135"/>
                    </a:cubicBezTo>
                    <a:cubicBezTo>
                      <a:pt x="123" y="135"/>
                      <a:pt x="138" y="120"/>
                      <a:pt x="138" y="101"/>
                    </a:cubicBezTo>
                    <a:cubicBezTo>
                      <a:pt x="138" y="83"/>
                      <a:pt x="123" y="67"/>
                      <a:pt x="105" y="67"/>
                    </a:cubicBezTo>
                    <a:close/>
                    <a:moveTo>
                      <a:pt x="37" y="167"/>
                    </a:moveTo>
                    <a:cubicBezTo>
                      <a:pt x="41" y="167"/>
                      <a:pt x="44" y="168"/>
                      <a:pt x="48" y="169"/>
                    </a:cubicBezTo>
                    <a:cubicBezTo>
                      <a:pt x="42" y="178"/>
                      <a:pt x="38" y="190"/>
                      <a:pt x="38" y="202"/>
                    </a:cubicBezTo>
                    <a:cubicBezTo>
                      <a:pt x="38" y="272"/>
                      <a:pt x="38" y="272"/>
                      <a:pt x="38" y="272"/>
                    </a:cubicBezTo>
                    <a:cubicBezTo>
                      <a:pt x="0" y="272"/>
                      <a:pt x="0" y="272"/>
                      <a:pt x="0" y="272"/>
                    </a:cubicBezTo>
                    <a:cubicBezTo>
                      <a:pt x="0" y="204"/>
                      <a:pt x="0" y="204"/>
                      <a:pt x="0" y="204"/>
                    </a:cubicBezTo>
                    <a:cubicBezTo>
                      <a:pt x="0" y="184"/>
                      <a:pt x="17" y="167"/>
                      <a:pt x="37" y="167"/>
                    </a:cubicBezTo>
                    <a:close/>
                    <a:moveTo>
                      <a:pt x="200" y="0"/>
                    </a:moveTo>
                    <a:cubicBezTo>
                      <a:pt x="173" y="0"/>
                      <a:pt x="150" y="22"/>
                      <a:pt x="150" y="50"/>
                    </a:cubicBezTo>
                    <a:cubicBezTo>
                      <a:pt x="150" y="77"/>
                      <a:pt x="173" y="100"/>
                      <a:pt x="200" y="100"/>
                    </a:cubicBezTo>
                    <a:cubicBezTo>
                      <a:pt x="227" y="100"/>
                      <a:pt x="250" y="77"/>
                      <a:pt x="250" y="50"/>
                    </a:cubicBezTo>
                    <a:cubicBezTo>
                      <a:pt x="250" y="22"/>
                      <a:pt x="227" y="0"/>
                      <a:pt x="200" y="0"/>
                    </a:cubicBezTo>
                    <a:close/>
                    <a:moveTo>
                      <a:pt x="349" y="299"/>
                    </a:moveTo>
                    <a:cubicBezTo>
                      <a:pt x="290" y="299"/>
                      <a:pt x="290" y="299"/>
                      <a:pt x="290" y="299"/>
                    </a:cubicBezTo>
                    <a:cubicBezTo>
                      <a:pt x="290" y="191"/>
                      <a:pt x="290" y="191"/>
                      <a:pt x="290" y="191"/>
                    </a:cubicBezTo>
                    <a:cubicBezTo>
                      <a:pt x="290" y="176"/>
                      <a:pt x="287" y="163"/>
                      <a:pt x="280" y="150"/>
                    </a:cubicBezTo>
                    <a:cubicBezTo>
                      <a:pt x="285" y="149"/>
                      <a:pt x="290" y="148"/>
                      <a:pt x="295" y="148"/>
                    </a:cubicBezTo>
                    <a:cubicBezTo>
                      <a:pt x="325" y="148"/>
                      <a:pt x="349" y="172"/>
                      <a:pt x="349" y="202"/>
                    </a:cubicBezTo>
                    <a:lnTo>
                      <a:pt x="349" y="299"/>
                    </a:lnTo>
                    <a:close/>
                    <a:moveTo>
                      <a:pt x="110" y="191"/>
                    </a:moveTo>
                    <a:cubicBezTo>
                      <a:pt x="110" y="299"/>
                      <a:pt x="110" y="299"/>
                      <a:pt x="110" y="299"/>
                    </a:cubicBezTo>
                    <a:cubicBezTo>
                      <a:pt x="51" y="299"/>
                      <a:pt x="51" y="299"/>
                      <a:pt x="51" y="299"/>
                    </a:cubicBezTo>
                    <a:cubicBezTo>
                      <a:pt x="51" y="202"/>
                      <a:pt x="51" y="202"/>
                      <a:pt x="51" y="202"/>
                    </a:cubicBezTo>
                    <a:cubicBezTo>
                      <a:pt x="51" y="172"/>
                      <a:pt x="75" y="148"/>
                      <a:pt x="105" y="148"/>
                    </a:cubicBezTo>
                    <a:cubicBezTo>
                      <a:pt x="110" y="148"/>
                      <a:pt x="115" y="149"/>
                      <a:pt x="120" y="150"/>
                    </a:cubicBezTo>
                    <a:cubicBezTo>
                      <a:pt x="113" y="163"/>
                      <a:pt x="110" y="176"/>
                      <a:pt x="110" y="191"/>
                    </a:cubicBezTo>
                    <a:close/>
                    <a:moveTo>
                      <a:pt x="122" y="330"/>
                    </a:moveTo>
                    <a:cubicBezTo>
                      <a:pt x="278" y="330"/>
                      <a:pt x="278" y="330"/>
                      <a:pt x="278" y="330"/>
                    </a:cubicBezTo>
                    <a:cubicBezTo>
                      <a:pt x="278" y="191"/>
                      <a:pt x="278" y="191"/>
                      <a:pt x="278" y="191"/>
                    </a:cubicBezTo>
                    <a:cubicBezTo>
                      <a:pt x="278" y="148"/>
                      <a:pt x="243" y="113"/>
                      <a:pt x="200" y="113"/>
                    </a:cubicBezTo>
                    <a:cubicBezTo>
                      <a:pt x="157" y="113"/>
                      <a:pt x="122" y="148"/>
                      <a:pt x="122" y="191"/>
                    </a:cubicBezTo>
                    <a:lnTo>
                      <a:pt x="122" y="330"/>
                    </a:lnTo>
                    <a:close/>
                  </a:path>
                </a:pathLst>
              </a:custGeom>
              <a:solidFill>
                <a:schemeClr val="tx2"/>
              </a:solidFill>
              <a:ln>
                <a:noFill/>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361" name="TextBox 360"/>
              <p:cNvSpPr txBox="1"/>
              <p:nvPr/>
            </p:nvSpPr>
            <p:spPr>
              <a:xfrm>
                <a:off x="399450" y="3148749"/>
                <a:ext cx="1854728" cy="627952"/>
              </a:xfrm>
              <a:prstGeom prst="rect">
                <a:avLst/>
              </a:prstGeom>
              <a:solidFill>
                <a:schemeClr val="tx2"/>
              </a:solidFill>
              <a:ln>
                <a:noFill/>
              </a:ln>
            </p:spPr>
            <p:txBody>
              <a:bodyPr wrap="none" lIns="179234" tIns="143387" rIns="179234" bIns="14338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mn-cs"/>
                  </a:rPr>
                  <a:t>Developers</a:t>
                </a:r>
              </a:p>
            </p:txBody>
          </p:sp>
        </p:grpSp>
        <p:sp>
          <p:nvSpPr>
            <p:cNvPr id="358" name="TextBox 357"/>
            <p:cNvSpPr txBox="1"/>
            <p:nvPr/>
          </p:nvSpPr>
          <p:spPr>
            <a:xfrm>
              <a:off x="2240091" y="1850690"/>
              <a:ext cx="3979011" cy="1710356"/>
            </a:xfrm>
            <a:prstGeom prst="rect">
              <a:avLst/>
            </a:prstGeom>
            <a:solidFill>
              <a:schemeClr val="tx2"/>
            </a:solidFill>
            <a:ln>
              <a:noFill/>
            </a:ln>
          </p:spPr>
          <p:txBody>
            <a:bodyPr wrap="square" lIns="179234" tIns="143387" rIns="179234" bIns="14338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solidFill>
                    <a:srgbClr val="FFFFFF"/>
                  </a:solidFill>
                  <a:effectLst/>
                  <a:uLnTx/>
                  <a:uFillTx/>
                  <a:latin typeface="Segoe UI Semilight"/>
                  <a:ea typeface="+mn-ea"/>
                  <a:cs typeface="+mn-cs"/>
                </a:rPr>
                <a:t>Enable ‘write-once, run-anywhere’ apps</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solidFill>
                    <a:srgbClr val="FFFFFF"/>
                  </a:solidFill>
                  <a:effectLst/>
                  <a:uLnTx/>
                  <a:uFillTx/>
                  <a:latin typeface="Segoe UI Semilight"/>
                  <a:ea typeface="+mn-ea"/>
                  <a:cs typeface="+mn-cs"/>
                </a:rPr>
                <a:t>Enables microservice architectures</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solidFill>
                    <a:srgbClr val="FFFFFF"/>
                  </a:solidFill>
                  <a:effectLst/>
                  <a:uLnTx/>
                  <a:uFillTx/>
                  <a:latin typeface="Segoe UI Semilight"/>
                  <a:ea typeface="+mn-ea"/>
                  <a:cs typeface="+mn-cs"/>
                </a:rPr>
                <a:t>Great for dev/test of apps and services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solidFill>
                    <a:srgbClr val="FFFFFF"/>
                  </a:solidFill>
                  <a:effectLst/>
                  <a:uLnTx/>
                  <a:uFillTx/>
                  <a:latin typeface="Segoe UI Semilight"/>
                  <a:ea typeface="+mn-ea"/>
                  <a:cs typeface="+mn-cs"/>
                </a:rPr>
                <a:t>Production realism</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solidFill>
                    <a:srgbClr val="FFFFFF"/>
                  </a:solidFill>
                  <a:effectLst/>
                  <a:uLnTx/>
                  <a:uFillTx/>
                  <a:latin typeface="Segoe UI Semilight"/>
                  <a:ea typeface="+mn-ea"/>
                  <a:cs typeface="+mn-cs"/>
                </a:rPr>
                <a:t>Growing Developer Community </a:t>
              </a:r>
            </a:p>
          </p:txBody>
        </p:sp>
      </p:grpSp>
      <p:grpSp>
        <p:nvGrpSpPr>
          <p:cNvPr id="362" name="Group 16"/>
          <p:cNvGrpSpPr/>
          <p:nvPr/>
        </p:nvGrpSpPr>
        <p:grpSpPr>
          <a:xfrm>
            <a:off x="423124" y="4143527"/>
            <a:ext cx="5966207" cy="2389546"/>
            <a:chOff x="284932" y="4081493"/>
            <a:chExt cx="6087569" cy="2438153"/>
          </a:xfrm>
        </p:grpSpPr>
        <p:sp>
          <p:nvSpPr>
            <p:cNvPr id="363" name="Rectangle 15"/>
            <p:cNvSpPr/>
            <p:nvPr/>
          </p:nvSpPr>
          <p:spPr bwMode="auto">
            <a:xfrm>
              <a:off x="284932" y="4081493"/>
              <a:ext cx="6087569" cy="23974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64" name="Group 10"/>
            <p:cNvGrpSpPr/>
            <p:nvPr/>
          </p:nvGrpSpPr>
          <p:grpSpPr>
            <a:xfrm>
              <a:off x="353028" y="4401028"/>
              <a:ext cx="1836475" cy="1886498"/>
              <a:chOff x="506602" y="4248628"/>
              <a:chExt cx="1836475" cy="1886498"/>
            </a:xfrm>
          </p:grpSpPr>
          <p:grpSp>
            <p:nvGrpSpPr>
              <p:cNvPr id="366" name="Group 8"/>
              <p:cNvGrpSpPr/>
              <p:nvPr/>
            </p:nvGrpSpPr>
            <p:grpSpPr>
              <a:xfrm>
                <a:off x="816977" y="4248628"/>
                <a:ext cx="1343570" cy="1343570"/>
                <a:chOff x="730166" y="4326498"/>
                <a:chExt cx="1343570" cy="1343570"/>
              </a:xfrm>
            </p:grpSpPr>
            <p:sp>
              <p:nvSpPr>
                <p:cNvPr id="368" name="Oval 5"/>
                <p:cNvSpPr/>
                <p:nvPr/>
              </p:nvSpPr>
              <p:spPr bwMode="auto">
                <a:xfrm>
                  <a:off x="730166" y="4326498"/>
                  <a:ext cx="1343570" cy="13435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9" name="Freeform 5"/>
                <p:cNvSpPr>
                  <a:spLocks noEditPoints="1"/>
                </p:cNvSpPr>
                <p:nvPr/>
              </p:nvSpPr>
              <p:spPr bwMode="auto">
                <a:xfrm>
                  <a:off x="1064166" y="4633658"/>
                  <a:ext cx="675570" cy="729250"/>
                </a:xfrm>
                <a:custGeom>
                  <a:avLst/>
                  <a:gdLst>
                    <a:gd name="T0" fmla="*/ 384 w 1600"/>
                    <a:gd name="T1" fmla="*/ 0 h 1728"/>
                    <a:gd name="T2" fmla="*/ 384 w 1600"/>
                    <a:gd name="T3" fmla="*/ 384 h 1728"/>
                    <a:gd name="T4" fmla="*/ 1600 w 1600"/>
                    <a:gd name="T5" fmla="*/ 896 h 1728"/>
                    <a:gd name="T6" fmla="*/ 1562 w 1600"/>
                    <a:gd name="T7" fmla="*/ 832 h 1728"/>
                    <a:gd name="T8" fmla="*/ 1408 w 1600"/>
                    <a:gd name="T9" fmla="*/ 768 h 1728"/>
                    <a:gd name="T10" fmla="*/ 1408 w 1600"/>
                    <a:gd name="T11" fmla="*/ 398 h 1728"/>
                    <a:gd name="T12" fmla="*/ 1362 w 1600"/>
                    <a:gd name="T13" fmla="*/ 274 h 1728"/>
                    <a:gd name="T14" fmla="*/ 1405 w 1600"/>
                    <a:gd name="T15" fmla="*/ 98 h 1728"/>
                    <a:gd name="T16" fmla="*/ 1313 w 1600"/>
                    <a:gd name="T17" fmla="*/ 65 h 1728"/>
                    <a:gd name="T18" fmla="*/ 1121 w 1600"/>
                    <a:gd name="T19" fmla="*/ 652 h 1728"/>
                    <a:gd name="T20" fmla="*/ 1138 w 1600"/>
                    <a:gd name="T21" fmla="*/ 682 h 1728"/>
                    <a:gd name="T22" fmla="*/ 1246 w 1600"/>
                    <a:gd name="T23" fmla="*/ 686 h 1728"/>
                    <a:gd name="T24" fmla="*/ 1344 w 1600"/>
                    <a:gd name="T25" fmla="*/ 528 h 1728"/>
                    <a:gd name="T26" fmla="*/ 1248 w 1600"/>
                    <a:gd name="T27" fmla="*/ 768 h 1728"/>
                    <a:gd name="T28" fmla="*/ 1218 w 1600"/>
                    <a:gd name="T29" fmla="*/ 804 h 1728"/>
                    <a:gd name="T30" fmla="*/ 742 w 1600"/>
                    <a:gd name="T31" fmla="*/ 832 h 1728"/>
                    <a:gd name="T32" fmla="*/ 704 w 1600"/>
                    <a:gd name="T33" fmla="*/ 922 h 1728"/>
                    <a:gd name="T34" fmla="*/ 1344 w 1600"/>
                    <a:gd name="T35" fmla="*/ 960 h 1728"/>
                    <a:gd name="T36" fmla="*/ 1190 w 1600"/>
                    <a:gd name="T37" fmla="*/ 1600 h 1728"/>
                    <a:gd name="T38" fmla="*/ 1152 w 1600"/>
                    <a:gd name="T39" fmla="*/ 1690 h 1728"/>
                    <a:gd name="T40" fmla="*/ 1344 w 1600"/>
                    <a:gd name="T41" fmla="*/ 1728 h 1728"/>
                    <a:gd name="T42" fmla="*/ 1600 w 1600"/>
                    <a:gd name="T43" fmla="*/ 1690 h 1728"/>
                    <a:gd name="T44" fmla="*/ 576 w 1600"/>
                    <a:gd name="T45" fmla="*/ 1280 h 1728"/>
                    <a:gd name="T46" fmla="*/ 128 w 1600"/>
                    <a:gd name="T47" fmla="*/ 576 h 1728"/>
                    <a:gd name="T48" fmla="*/ 0 w 1600"/>
                    <a:gd name="T49" fmla="*/ 576 h 1728"/>
                    <a:gd name="T50" fmla="*/ 64 w 1600"/>
                    <a:gd name="T51" fmla="*/ 1408 h 1728"/>
                    <a:gd name="T52" fmla="*/ 256 w 1600"/>
                    <a:gd name="T53" fmla="*/ 1600 h 1728"/>
                    <a:gd name="T54" fmla="*/ 128 w 1600"/>
                    <a:gd name="T55" fmla="*/ 1664 h 1728"/>
                    <a:gd name="T56" fmla="*/ 256 w 1600"/>
                    <a:gd name="T57" fmla="*/ 1664 h 1728"/>
                    <a:gd name="T58" fmla="*/ 448 w 1600"/>
                    <a:gd name="T59" fmla="*/ 1728 h 1728"/>
                    <a:gd name="T60" fmla="*/ 448 w 1600"/>
                    <a:gd name="T61" fmla="*/ 1600 h 1728"/>
                    <a:gd name="T62" fmla="*/ 384 w 1600"/>
                    <a:gd name="T63" fmla="*/ 1408 h 1728"/>
                    <a:gd name="T64" fmla="*/ 640 w 1600"/>
                    <a:gd name="T65" fmla="*/ 1344 h 1728"/>
                    <a:gd name="T66" fmla="*/ 960 w 1600"/>
                    <a:gd name="T67" fmla="*/ 1600 h 1728"/>
                    <a:gd name="T68" fmla="*/ 896 w 1600"/>
                    <a:gd name="T69" fmla="*/ 1216 h 1728"/>
                    <a:gd name="T70" fmla="*/ 896 w 1600"/>
                    <a:gd name="T71" fmla="*/ 1152 h 1728"/>
                    <a:gd name="T72" fmla="*/ 512 w 1600"/>
                    <a:gd name="T73" fmla="*/ 1024 h 1728"/>
                    <a:gd name="T74" fmla="*/ 595 w 1600"/>
                    <a:gd name="T75" fmla="*/ 753 h 1728"/>
                    <a:gd name="T76" fmla="*/ 864 w 1600"/>
                    <a:gd name="T77" fmla="*/ 768 h 1728"/>
                    <a:gd name="T78" fmla="*/ 864 w 1600"/>
                    <a:gd name="T79" fmla="*/ 576 h 1728"/>
                    <a:gd name="T80" fmla="*/ 509 w 1600"/>
                    <a:gd name="T81" fmla="*/ 477 h 1728"/>
                    <a:gd name="T82" fmla="*/ 320 w 1600"/>
                    <a:gd name="T83" fmla="*/ 448 h 1728"/>
                    <a:gd name="T84" fmla="*/ 192 w 1600"/>
                    <a:gd name="T85" fmla="*/ 1088 h 1728"/>
                    <a:gd name="T86" fmla="*/ 384 w 1600"/>
                    <a:gd name="T87" fmla="*/ 1216 h 1728"/>
                    <a:gd name="T88" fmla="*/ 704 w 1600"/>
                    <a:gd name="T89" fmla="*/ 1216 h 1728"/>
                    <a:gd name="T90" fmla="*/ 768 w 1600"/>
                    <a:gd name="T91" fmla="*/ 1728 h 1728"/>
                    <a:gd name="T92" fmla="*/ 1024 w 1600"/>
                    <a:gd name="T93" fmla="*/ 166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0" h="1728">
                      <a:moveTo>
                        <a:pt x="192" y="192"/>
                      </a:moveTo>
                      <a:cubicBezTo>
                        <a:pt x="192" y="86"/>
                        <a:pt x="278" y="0"/>
                        <a:pt x="384" y="0"/>
                      </a:cubicBezTo>
                      <a:cubicBezTo>
                        <a:pt x="490" y="0"/>
                        <a:pt x="576" y="86"/>
                        <a:pt x="576" y="192"/>
                      </a:cubicBezTo>
                      <a:cubicBezTo>
                        <a:pt x="576" y="298"/>
                        <a:pt x="490" y="384"/>
                        <a:pt x="384" y="384"/>
                      </a:cubicBezTo>
                      <a:cubicBezTo>
                        <a:pt x="278" y="384"/>
                        <a:pt x="192" y="298"/>
                        <a:pt x="192" y="192"/>
                      </a:cubicBezTo>
                      <a:close/>
                      <a:moveTo>
                        <a:pt x="1600" y="896"/>
                      </a:moveTo>
                      <a:cubicBezTo>
                        <a:pt x="1600" y="870"/>
                        <a:pt x="1600" y="870"/>
                        <a:pt x="1600" y="870"/>
                      </a:cubicBezTo>
                      <a:cubicBezTo>
                        <a:pt x="1600" y="849"/>
                        <a:pt x="1583" y="832"/>
                        <a:pt x="1562" y="832"/>
                      </a:cubicBezTo>
                      <a:cubicBezTo>
                        <a:pt x="1408" y="832"/>
                        <a:pt x="1408" y="832"/>
                        <a:pt x="1408" y="832"/>
                      </a:cubicBezTo>
                      <a:cubicBezTo>
                        <a:pt x="1408" y="768"/>
                        <a:pt x="1408" y="768"/>
                        <a:pt x="1408" y="768"/>
                      </a:cubicBezTo>
                      <a:cubicBezTo>
                        <a:pt x="1408" y="493"/>
                        <a:pt x="1408" y="493"/>
                        <a:pt x="1408" y="493"/>
                      </a:cubicBezTo>
                      <a:cubicBezTo>
                        <a:pt x="1408" y="398"/>
                        <a:pt x="1408" y="398"/>
                        <a:pt x="1408" y="398"/>
                      </a:cubicBezTo>
                      <a:cubicBezTo>
                        <a:pt x="1408" y="376"/>
                        <a:pt x="1403" y="355"/>
                        <a:pt x="1393" y="335"/>
                      </a:cubicBezTo>
                      <a:cubicBezTo>
                        <a:pt x="1362" y="274"/>
                        <a:pt x="1362" y="274"/>
                        <a:pt x="1362" y="274"/>
                      </a:cubicBezTo>
                      <a:cubicBezTo>
                        <a:pt x="1407" y="116"/>
                        <a:pt x="1407" y="116"/>
                        <a:pt x="1407" y="116"/>
                      </a:cubicBezTo>
                      <a:cubicBezTo>
                        <a:pt x="1409" y="110"/>
                        <a:pt x="1408" y="103"/>
                        <a:pt x="1405" y="98"/>
                      </a:cubicBezTo>
                      <a:cubicBezTo>
                        <a:pt x="1402" y="92"/>
                        <a:pt x="1396" y="88"/>
                        <a:pt x="1390" y="86"/>
                      </a:cubicBezTo>
                      <a:cubicBezTo>
                        <a:pt x="1313" y="65"/>
                        <a:pt x="1313" y="65"/>
                        <a:pt x="1313" y="65"/>
                      </a:cubicBezTo>
                      <a:cubicBezTo>
                        <a:pt x="1300" y="61"/>
                        <a:pt x="1286" y="69"/>
                        <a:pt x="1282" y="82"/>
                      </a:cubicBezTo>
                      <a:cubicBezTo>
                        <a:pt x="1121" y="652"/>
                        <a:pt x="1121" y="652"/>
                        <a:pt x="1121" y="652"/>
                      </a:cubicBezTo>
                      <a:cubicBezTo>
                        <a:pt x="1119" y="658"/>
                        <a:pt x="1120" y="665"/>
                        <a:pt x="1123" y="670"/>
                      </a:cubicBezTo>
                      <a:cubicBezTo>
                        <a:pt x="1126" y="676"/>
                        <a:pt x="1132" y="680"/>
                        <a:pt x="1138" y="682"/>
                      </a:cubicBezTo>
                      <a:cubicBezTo>
                        <a:pt x="1215" y="703"/>
                        <a:pt x="1215" y="703"/>
                        <a:pt x="1215" y="703"/>
                      </a:cubicBezTo>
                      <a:cubicBezTo>
                        <a:pt x="1228" y="707"/>
                        <a:pt x="1242" y="699"/>
                        <a:pt x="1246" y="686"/>
                      </a:cubicBezTo>
                      <a:cubicBezTo>
                        <a:pt x="1280" y="563"/>
                        <a:pt x="1280" y="563"/>
                        <a:pt x="1280" y="563"/>
                      </a:cubicBezTo>
                      <a:cubicBezTo>
                        <a:pt x="1344" y="528"/>
                        <a:pt x="1344" y="528"/>
                        <a:pt x="1344" y="528"/>
                      </a:cubicBezTo>
                      <a:cubicBezTo>
                        <a:pt x="1344" y="768"/>
                        <a:pt x="1344" y="768"/>
                        <a:pt x="1344" y="768"/>
                      </a:cubicBezTo>
                      <a:cubicBezTo>
                        <a:pt x="1248" y="768"/>
                        <a:pt x="1248" y="768"/>
                        <a:pt x="1248" y="768"/>
                      </a:cubicBezTo>
                      <a:cubicBezTo>
                        <a:pt x="1246" y="768"/>
                        <a:pt x="1244" y="768"/>
                        <a:pt x="1241" y="769"/>
                      </a:cubicBezTo>
                      <a:cubicBezTo>
                        <a:pt x="1225" y="773"/>
                        <a:pt x="1215" y="788"/>
                        <a:pt x="1218" y="804"/>
                      </a:cubicBezTo>
                      <a:cubicBezTo>
                        <a:pt x="1220" y="820"/>
                        <a:pt x="1233" y="832"/>
                        <a:pt x="1249" y="832"/>
                      </a:cubicBezTo>
                      <a:cubicBezTo>
                        <a:pt x="742" y="832"/>
                        <a:pt x="742" y="832"/>
                        <a:pt x="742" y="832"/>
                      </a:cubicBezTo>
                      <a:cubicBezTo>
                        <a:pt x="721" y="832"/>
                        <a:pt x="704" y="849"/>
                        <a:pt x="704" y="870"/>
                      </a:cubicBezTo>
                      <a:cubicBezTo>
                        <a:pt x="704" y="922"/>
                        <a:pt x="704" y="922"/>
                        <a:pt x="704" y="922"/>
                      </a:cubicBezTo>
                      <a:cubicBezTo>
                        <a:pt x="704" y="943"/>
                        <a:pt x="721" y="960"/>
                        <a:pt x="742" y="960"/>
                      </a:cubicBezTo>
                      <a:cubicBezTo>
                        <a:pt x="1344" y="960"/>
                        <a:pt x="1344" y="960"/>
                        <a:pt x="1344" y="960"/>
                      </a:cubicBezTo>
                      <a:cubicBezTo>
                        <a:pt x="1344" y="1600"/>
                        <a:pt x="1344" y="1600"/>
                        <a:pt x="1344" y="1600"/>
                      </a:cubicBezTo>
                      <a:cubicBezTo>
                        <a:pt x="1190" y="1600"/>
                        <a:pt x="1190" y="1600"/>
                        <a:pt x="1190" y="1600"/>
                      </a:cubicBezTo>
                      <a:cubicBezTo>
                        <a:pt x="1169" y="1600"/>
                        <a:pt x="1152" y="1617"/>
                        <a:pt x="1152" y="1638"/>
                      </a:cubicBezTo>
                      <a:cubicBezTo>
                        <a:pt x="1152" y="1690"/>
                        <a:pt x="1152" y="1690"/>
                        <a:pt x="1152" y="1690"/>
                      </a:cubicBezTo>
                      <a:cubicBezTo>
                        <a:pt x="1152" y="1711"/>
                        <a:pt x="1169" y="1728"/>
                        <a:pt x="1190" y="1728"/>
                      </a:cubicBezTo>
                      <a:cubicBezTo>
                        <a:pt x="1344" y="1728"/>
                        <a:pt x="1344" y="1728"/>
                        <a:pt x="1344" y="1728"/>
                      </a:cubicBezTo>
                      <a:cubicBezTo>
                        <a:pt x="1562" y="1728"/>
                        <a:pt x="1562" y="1728"/>
                        <a:pt x="1562" y="1728"/>
                      </a:cubicBezTo>
                      <a:cubicBezTo>
                        <a:pt x="1583" y="1728"/>
                        <a:pt x="1600" y="1711"/>
                        <a:pt x="1600" y="1690"/>
                      </a:cubicBezTo>
                      <a:cubicBezTo>
                        <a:pt x="1600" y="896"/>
                        <a:pt x="1600" y="896"/>
                        <a:pt x="1600" y="896"/>
                      </a:cubicBezTo>
                      <a:close/>
                      <a:moveTo>
                        <a:pt x="576" y="1280"/>
                      </a:moveTo>
                      <a:cubicBezTo>
                        <a:pt x="128" y="1280"/>
                        <a:pt x="128" y="1280"/>
                        <a:pt x="128" y="1280"/>
                      </a:cubicBezTo>
                      <a:cubicBezTo>
                        <a:pt x="128" y="576"/>
                        <a:pt x="128" y="576"/>
                        <a:pt x="128" y="576"/>
                      </a:cubicBezTo>
                      <a:cubicBezTo>
                        <a:pt x="128" y="541"/>
                        <a:pt x="99" y="512"/>
                        <a:pt x="64" y="512"/>
                      </a:cubicBezTo>
                      <a:cubicBezTo>
                        <a:pt x="29" y="512"/>
                        <a:pt x="0" y="541"/>
                        <a:pt x="0" y="576"/>
                      </a:cubicBezTo>
                      <a:cubicBezTo>
                        <a:pt x="0" y="1344"/>
                        <a:pt x="0" y="1344"/>
                        <a:pt x="0" y="1344"/>
                      </a:cubicBezTo>
                      <a:cubicBezTo>
                        <a:pt x="0" y="1379"/>
                        <a:pt x="29" y="1408"/>
                        <a:pt x="64" y="1408"/>
                      </a:cubicBezTo>
                      <a:cubicBezTo>
                        <a:pt x="256" y="1408"/>
                        <a:pt x="256" y="1408"/>
                        <a:pt x="256" y="1408"/>
                      </a:cubicBezTo>
                      <a:cubicBezTo>
                        <a:pt x="256" y="1600"/>
                        <a:pt x="256" y="1600"/>
                        <a:pt x="256" y="1600"/>
                      </a:cubicBezTo>
                      <a:cubicBezTo>
                        <a:pt x="192" y="1600"/>
                        <a:pt x="192" y="1600"/>
                        <a:pt x="192" y="1600"/>
                      </a:cubicBezTo>
                      <a:cubicBezTo>
                        <a:pt x="157" y="1600"/>
                        <a:pt x="128" y="1629"/>
                        <a:pt x="128" y="1664"/>
                      </a:cubicBezTo>
                      <a:cubicBezTo>
                        <a:pt x="128" y="1699"/>
                        <a:pt x="157" y="1728"/>
                        <a:pt x="192" y="1728"/>
                      </a:cubicBezTo>
                      <a:cubicBezTo>
                        <a:pt x="227" y="1728"/>
                        <a:pt x="256" y="1699"/>
                        <a:pt x="256" y="1664"/>
                      </a:cubicBezTo>
                      <a:cubicBezTo>
                        <a:pt x="384" y="1664"/>
                        <a:pt x="384" y="1664"/>
                        <a:pt x="384" y="1664"/>
                      </a:cubicBezTo>
                      <a:cubicBezTo>
                        <a:pt x="384" y="1699"/>
                        <a:pt x="413" y="1728"/>
                        <a:pt x="448" y="1728"/>
                      </a:cubicBezTo>
                      <a:cubicBezTo>
                        <a:pt x="483" y="1728"/>
                        <a:pt x="512" y="1699"/>
                        <a:pt x="512" y="1664"/>
                      </a:cubicBezTo>
                      <a:cubicBezTo>
                        <a:pt x="512" y="1629"/>
                        <a:pt x="483" y="1600"/>
                        <a:pt x="448" y="1600"/>
                      </a:cubicBezTo>
                      <a:cubicBezTo>
                        <a:pt x="384" y="1600"/>
                        <a:pt x="384" y="1600"/>
                        <a:pt x="384" y="1600"/>
                      </a:cubicBezTo>
                      <a:cubicBezTo>
                        <a:pt x="384" y="1408"/>
                        <a:pt x="384" y="1408"/>
                        <a:pt x="384" y="1408"/>
                      </a:cubicBezTo>
                      <a:cubicBezTo>
                        <a:pt x="576" y="1408"/>
                        <a:pt x="576" y="1408"/>
                        <a:pt x="576" y="1408"/>
                      </a:cubicBezTo>
                      <a:cubicBezTo>
                        <a:pt x="611" y="1408"/>
                        <a:pt x="640" y="1379"/>
                        <a:pt x="640" y="1344"/>
                      </a:cubicBezTo>
                      <a:cubicBezTo>
                        <a:pt x="640" y="1309"/>
                        <a:pt x="611" y="1280"/>
                        <a:pt x="576" y="1280"/>
                      </a:cubicBezTo>
                      <a:close/>
                      <a:moveTo>
                        <a:pt x="960" y="1600"/>
                      </a:moveTo>
                      <a:cubicBezTo>
                        <a:pt x="896" y="1600"/>
                        <a:pt x="896" y="1600"/>
                        <a:pt x="896" y="1600"/>
                      </a:cubicBezTo>
                      <a:cubicBezTo>
                        <a:pt x="896" y="1216"/>
                        <a:pt x="896" y="1216"/>
                        <a:pt x="896" y="1216"/>
                      </a:cubicBezTo>
                      <a:cubicBezTo>
                        <a:pt x="896" y="1184"/>
                        <a:pt x="896" y="1184"/>
                        <a:pt x="896" y="1184"/>
                      </a:cubicBezTo>
                      <a:cubicBezTo>
                        <a:pt x="896" y="1152"/>
                        <a:pt x="896" y="1152"/>
                        <a:pt x="896" y="1152"/>
                      </a:cubicBezTo>
                      <a:cubicBezTo>
                        <a:pt x="896" y="1081"/>
                        <a:pt x="839" y="1024"/>
                        <a:pt x="768" y="1024"/>
                      </a:cubicBezTo>
                      <a:cubicBezTo>
                        <a:pt x="512" y="1024"/>
                        <a:pt x="512" y="1024"/>
                        <a:pt x="512" y="1024"/>
                      </a:cubicBezTo>
                      <a:cubicBezTo>
                        <a:pt x="512" y="701"/>
                        <a:pt x="512" y="701"/>
                        <a:pt x="512" y="701"/>
                      </a:cubicBezTo>
                      <a:cubicBezTo>
                        <a:pt x="595" y="753"/>
                        <a:pt x="595" y="753"/>
                        <a:pt x="595" y="753"/>
                      </a:cubicBezTo>
                      <a:cubicBezTo>
                        <a:pt x="611" y="763"/>
                        <a:pt x="628" y="768"/>
                        <a:pt x="646" y="768"/>
                      </a:cubicBezTo>
                      <a:cubicBezTo>
                        <a:pt x="864" y="768"/>
                        <a:pt x="864" y="768"/>
                        <a:pt x="864" y="768"/>
                      </a:cubicBezTo>
                      <a:cubicBezTo>
                        <a:pt x="917" y="768"/>
                        <a:pt x="960" y="725"/>
                        <a:pt x="960" y="672"/>
                      </a:cubicBezTo>
                      <a:cubicBezTo>
                        <a:pt x="960" y="619"/>
                        <a:pt x="917" y="576"/>
                        <a:pt x="864" y="576"/>
                      </a:cubicBezTo>
                      <a:cubicBezTo>
                        <a:pt x="674" y="576"/>
                        <a:pt x="674" y="576"/>
                        <a:pt x="674" y="576"/>
                      </a:cubicBezTo>
                      <a:cubicBezTo>
                        <a:pt x="509" y="477"/>
                        <a:pt x="509" y="477"/>
                        <a:pt x="509" y="477"/>
                      </a:cubicBezTo>
                      <a:cubicBezTo>
                        <a:pt x="477" y="458"/>
                        <a:pt x="441" y="448"/>
                        <a:pt x="405" y="448"/>
                      </a:cubicBezTo>
                      <a:cubicBezTo>
                        <a:pt x="320" y="448"/>
                        <a:pt x="320" y="448"/>
                        <a:pt x="320" y="448"/>
                      </a:cubicBezTo>
                      <a:cubicBezTo>
                        <a:pt x="249" y="448"/>
                        <a:pt x="192" y="505"/>
                        <a:pt x="192" y="576"/>
                      </a:cubicBezTo>
                      <a:cubicBezTo>
                        <a:pt x="192" y="1088"/>
                        <a:pt x="192" y="1088"/>
                        <a:pt x="192" y="1088"/>
                      </a:cubicBezTo>
                      <a:cubicBezTo>
                        <a:pt x="192" y="1159"/>
                        <a:pt x="249" y="1216"/>
                        <a:pt x="320" y="1216"/>
                      </a:cubicBezTo>
                      <a:cubicBezTo>
                        <a:pt x="384" y="1216"/>
                        <a:pt x="384" y="1216"/>
                        <a:pt x="384" y="1216"/>
                      </a:cubicBezTo>
                      <a:cubicBezTo>
                        <a:pt x="512" y="1216"/>
                        <a:pt x="512" y="1216"/>
                        <a:pt x="512" y="1216"/>
                      </a:cubicBezTo>
                      <a:cubicBezTo>
                        <a:pt x="704" y="1216"/>
                        <a:pt x="704" y="1216"/>
                        <a:pt x="704" y="1216"/>
                      </a:cubicBezTo>
                      <a:cubicBezTo>
                        <a:pt x="704" y="1664"/>
                        <a:pt x="704" y="1664"/>
                        <a:pt x="704" y="1664"/>
                      </a:cubicBezTo>
                      <a:cubicBezTo>
                        <a:pt x="704" y="1699"/>
                        <a:pt x="733" y="1728"/>
                        <a:pt x="768" y="1728"/>
                      </a:cubicBezTo>
                      <a:cubicBezTo>
                        <a:pt x="960" y="1728"/>
                        <a:pt x="960" y="1728"/>
                        <a:pt x="960" y="1728"/>
                      </a:cubicBezTo>
                      <a:cubicBezTo>
                        <a:pt x="995" y="1728"/>
                        <a:pt x="1024" y="1699"/>
                        <a:pt x="1024" y="1664"/>
                      </a:cubicBezTo>
                      <a:cubicBezTo>
                        <a:pt x="1024" y="1629"/>
                        <a:pt x="995" y="1600"/>
                        <a:pt x="960" y="1600"/>
                      </a:cubicBezTo>
                      <a:close/>
                    </a:path>
                  </a:pathLst>
                </a:custGeom>
                <a:solidFill>
                  <a:schemeClr val="tx2"/>
                </a:solidFill>
                <a:ln>
                  <a:noFill/>
                </a:ln>
              </p:spPr>
              <p:txBody>
                <a:bodyPr vert="horz" wrap="square" lIns="89617" tIns="44808" rIns="89617" bIns="44808"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67" name="TextBox 366"/>
              <p:cNvSpPr txBox="1"/>
              <p:nvPr/>
            </p:nvSpPr>
            <p:spPr>
              <a:xfrm>
                <a:off x="506602" y="5507174"/>
                <a:ext cx="1836475" cy="627952"/>
              </a:xfrm>
              <a:prstGeom prst="rect">
                <a:avLst/>
              </a:prstGeom>
              <a:noFill/>
            </p:spPr>
            <p:txBody>
              <a:bodyPr wrap="none" lIns="179234" tIns="143387" rIns="179234" bIns="14338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mn-cs"/>
                  </a:rPr>
                  <a:t>Operations</a:t>
                </a:r>
              </a:p>
            </p:txBody>
          </p:sp>
        </p:grpSp>
        <p:sp>
          <p:nvSpPr>
            <p:cNvPr id="365" name="TextBox 364"/>
            <p:cNvSpPr txBox="1"/>
            <p:nvPr/>
          </p:nvSpPr>
          <p:spPr>
            <a:xfrm>
              <a:off x="2240090" y="4102938"/>
              <a:ext cx="4121799" cy="2416708"/>
            </a:xfrm>
            <a:prstGeom prst="rect">
              <a:avLst/>
            </a:prstGeom>
            <a:noFill/>
          </p:spPr>
          <p:txBody>
            <a:bodyPr wrap="square" lIns="179234" tIns="143387" rIns="179234" bIns="14338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solidFill>
                    <a:srgbClr val="FFFFFF"/>
                  </a:solidFill>
                  <a:effectLst/>
                  <a:uLnTx/>
                  <a:uFillTx/>
                  <a:latin typeface="Segoe UI Semilight"/>
                  <a:ea typeface="+mn-ea"/>
                  <a:cs typeface="+mn-cs"/>
                </a:rPr>
                <a:t>Portability, Portability, Portability</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solidFill>
                    <a:srgbClr val="FFFFFF"/>
                  </a:solidFill>
                  <a:effectLst/>
                  <a:uLnTx/>
                  <a:uFillTx/>
                  <a:latin typeface="Segoe UI Semilight"/>
                  <a:ea typeface="+mn-ea"/>
                  <a:cs typeface="+mn-cs"/>
                </a:rPr>
                <a:t>Standardized development, QA, and prod environments</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solidFill>
                    <a:srgbClr val="FFFFFF"/>
                  </a:solidFill>
                  <a:effectLst/>
                  <a:uLnTx/>
                  <a:uFillTx/>
                  <a:latin typeface="Segoe UI Semilight"/>
                  <a:ea typeface="+mn-ea"/>
                  <a:cs typeface="+mn-cs"/>
                </a:rPr>
                <a:t>Abstract differences in OS distributions and underlying infrastructure</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solidFill>
                    <a:srgbClr val="FFFFFF"/>
                  </a:solidFill>
                  <a:effectLst/>
                  <a:uLnTx/>
                  <a:uFillTx/>
                  <a:latin typeface="Segoe UI Semilight"/>
                  <a:ea typeface="+mn-ea"/>
                  <a:cs typeface="+mn-cs"/>
                </a:rPr>
                <a:t>Higher compute density</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solidFill>
                    <a:srgbClr val="FFFFFF"/>
                  </a:solidFill>
                  <a:effectLst/>
                  <a:uLnTx/>
                  <a:uFillTx/>
                  <a:latin typeface="Segoe UI Semilight"/>
                  <a:ea typeface="+mn-ea"/>
                  <a:cs typeface="+mn-cs"/>
                </a:rPr>
                <a:t>Easily scale-up and scale-down in response to changing business needs</a:t>
              </a:r>
            </a:p>
          </p:txBody>
        </p:sp>
      </p:grpSp>
      <p:sp>
        <p:nvSpPr>
          <p:cNvPr id="370" name="Oval 18"/>
          <p:cNvSpPr/>
          <p:nvPr/>
        </p:nvSpPr>
        <p:spPr bwMode="auto">
          <a:xfrm>
            <a:off x="8023429" y="2490802"/>
            <a:ext cx="2544468" cy="2544468"/>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TextBox 370"/>
          <p:cNvSpPr txBox="1"/>
          <p:nvPr/>
        </p:nvSpPr>
        <p:spPr>
          <a:xfrm>
            <a:off x="8565599" y="1894996"/>
            <a:ext cx="1392700" cy="615433"/>
          </a:xfrm>
          <a:prstGeom prst="rect">
            <a:avLst/>
          </a:prstGeom>
          <a:noFill/>
        </p:spPr>
        <p:txBody>
          <a:bodyPr wrap="none" lIns="179234" tIns="143387" rIns="179234" bIns="14338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a:ln>
                  <a:noFill/>
                </a:ln>
                <a:solidFill>
                  <a:srgbClr val="353535"/>
                </a:solidFill>
                <a:effectLst/>
                <a:uLnTx/>
                <a:uFillTx/>
                <a:latin typeface="Segoe UI Semilight"/>
                <a:ea typeface="+mn-ea"/>
                <a:cs typeface="+mn-cs"/>
              </a:rPr>
              <a:t>DevOps</a:t>
            </a:r>
          </a:p>
        </p:txBody>
      </p:sp>
      <p:sp>
        <p:nvSpPr>
          <p:cNvPr id="372" name="Freeform 6"/>
          <p:cNvSpPr>
            <a:spLocks noChangeAspect="1" noEditPoints="1"/>
          </p:cNvSpPr>
          <p:nvPr/>
        </p:nvSpPr>
        <p:spPr bwMode="auto">
          <a:xfrm>
            <a:off x="8406919" y="3320970"/>
            <a:ext cx="1777495" cy="884131"/>
          </a:xfrm>
          <a:custGeom>
            <a:avLst/>
            <a:gdLst>
              <a:gd name="T0" fmla="*/ 77 w 326"/>
              <a:gd name="T1" fmla="*/ 15 h 162"/>
              <a:gd name="T2" fmla="*/ 48 w 326"/>
              <a:gd name="T3" fmla="*/ 15 h 162"/>
              <a:gd name="T4" fmla="*/ 279 w 326"/>
              <a:gd name="T5" fmla="*/ 3 h 162"/>
              <a:gd name="T6" fmla="*/ 279 w 326"/>
              <a:gd name="T7" fmla="*/ 33 h 162"/>
              <a:gd name="T8" fmla="*/ 279 w 326"/>
              <a:gd name="T9" fmla="*/ 3 h 162"/>
              <a:gd name="T10" fmla="*/ 140 w 326"/>
              <a:gd name="T11" fmla="*/ 65 h 162"/>
              <a:gd name="T12" fmla="*/ 138 w 326"/>
              <a:gd name="T13" fmla="*/ 62 h 162"/>
              <a:gd name="T14" fmla="*/ 293 w 326"/>
              <a:gd name="T15" fmla="*/ 33 h 162"/>
              <a:gd name="T16" fmla="*/ 280 w 326"/>
              <a:gd name="T17" fmla="*/ 45 h 162"/>
              <a:gd name="T18" fmla="*/ 268 w 326"/>
              <a:gd name="T19" fmla="*/ 55 h 162"/>
              <a:gd name="T20" fmla="*/ 229 w 326"/>
              <a:gd name="T21" fmla="*/ 62 h 162"/>
              <a:gd name="T22" fmla="*/ 228 w 326"/>
              <a:gd name="T23" fmla="*/ 58 h 162"/>
              <a:gd name="T24" fmla="*/ 222 w 326"/>
              <a:gd name="T25" fmla="*/ 62 h 162"/>
              <a:gd name="T26" fmla="*/ 222 w 326"/>
              <a:gd name="T27" fmla="*/ 71 h 162"/>
              <a:gd name="T28" fmla="*/ 193 w 326"/>
              <a:gd name="T29" fmla="*/ 36 h 162"/>
              <a:gd name="T30" fmla="*/ 171 w 326"/>
              <a:gd name="T31" fmla="*/ 49 h 162"/>
              <a:gd name="T32" fmla="*/ 148 w 326"/>
              <a:gd name="T33" fmla="*/ 36 h 162"/>
              <a:gd name="T34" fmla="*/ 138 w 326"/>
              <a:gd name="T35" fmla="*/ 62 h 162"/>
              <a:gd name="T36" fmla="*/ 151 w 326"/>
              <a:gd name="T37" fmla="*/ 40 h 162"/>
              <a:gd name="T38" fmla="*/ 164 w 326"/>
              <a:gd name="T39" fmla="*/ 62 h 162"/>
              <a:gd name="T40" fmla="*/ 166 w 326"/>
              <a:gd name="T41" fmla="*/ 58 h 162"/>
              <a:gd name="T42" fmla="*/ 174 w 326"/>
              <a:gd name="T43" fmla="*/ 71 h 162"/>
              <a:gd name="T44" fmla="*/ 140 w 326"/>
              <a:gd name="T45" fmla="*/ 68 h 162"/>
              <a:gd name="T46" fmla="*/ 103 w 326"/>
              <a:gd name="T47" fmla="*/ 68 h 162"/>
              <a:gd name="T48" fmla="*/ 93 w 326"/>
              <a:gd name="T49" fmla="*/ 71 h 162"/>
              <a:gd name="T50" fmla="*/ 119 w 326"/>
              <a:gd name="T51" fmla="*/ 68 h 162"/>
              <a:gd name="T52" fmla="*/ 74 w 326"/>
              <a:gd name="T53" fmla="*/ 62 h 162"/>
              <a:gd name="T54" fmla="*/ 62 w 326"/>
              <a:gd name="T55" fmla="*/ 48 h 162"/>
              <a:gd name="T56" fmla="*/ 22 w 326"/>
              <a:gd name="T57" fmla="*/ 97 h 162"/>
              <a:gd name="T58" fmla="*/ 32 w 326"/>
              <a:gd name="T59" fmla="*/ 110 h 162"/>
              <a:gd name="T60" fmla="*/ 67 w 326"/>
              <a:gd name="T61" fmla="*/ 110 h 162"/>
              <a:gd name="T62" fmla="*/ 109 w 326"/>
              <a:gd name="T63" fmla="*/ 162 h 162"/>
              <a:gd name="T64" fmla="*/ 97 w 326"/>
              <a:gd name="T65" fmla="*/ 136 h 162"/>
              <a:gd name="T66" fmla="*/ 90 w 326"/>
              <a:gd name="T67" fmla="*/ 87 h 162"/>
              <a:gd name="T68" fmla="*/ 61 w 326"/>
              <a:gd name="T69" fmla="*/ 81 h 162"/>
              <a:gd name="T70" fmla="*/ 271 w 326"/>
              <a:gd name="T71" fmla="*/ 87 h 162"/>
              <a:gd name="T72" fmla="*/ 239 w 326"/>
              <a:gd name="T73" fmla="*/ 94 h 162"/>
              <a:gd name="T74" fmla="*/ 236 w 326"/>
              <a:gd name="T75" fmla="*/ 162 h 162"/>
              <a:gd name="T76" fmla="*/ 264 w 326"/>
              <a:gd name="T77" fmla="*/ 110 h 162"/>
              <a:gd name="T78" fmla="*/ 303 w 326"/>
              <a:gd name="T79" fmla="*/ 100 h 162"/>
              <a:gd name="T80" fmla="*/ 293 w 326"/>
              <a:gd name="T81" fmla="*/ 33 h 162"/>
              <a:gd name="T82" fmla="*/ 226 w 326"/>
              <a:gd name="T83" fmla="*/ 70 h 162"/>
              <a:gd name="T84" fmla="*/ 226 w 326"/>
              <a:gd name="T85" fmla="*/ 71 h 162"/>
              <a:gd name="T86" fmla="*/ 6 w 326"/>
              <a:gd name="T87" fmla="*/ 107 h 162"/>
              <a:gd name="T88" fmla="*/ 16 w 326"/>
              <a:gd name="T89" fmla="*/ 162 h 162"/>
              <a:gd name="T90" fmla="*/ 9 w 326"/>
              <a:gd name="T91" fmla="*/ 62 h 162"/>
              <a:gd name="T92" fmla="*/ 316 w 326"/>
              <a:gd name="T93" fmla="*/ 62 h 162"/>
              <a:gd name="T94" fmla="*/ 310 w 326"/>
              <a:gd name="T95" fmla="*/ 162 h 162"/>
              <a:gd name="T96" fmla="*/ 319 w 326"/>
              <a:gd name="T97" fmla="*/ 107 h 162"/>
              <a:gd name="T98" fmla="*/ 316 w 326"/>
              <a:gd name="T99" fmla="*/ 62 h 162"/>
              <a:gd name="T100" fmla="*/ 142 w 326"/>
              <a:gd name="T101" fmla="*/ 97 h 162"/>
              <a:gd name="T102" fmla="*/ 150 w 326"/>
              <a:gd name="T103" fmla="*/ 153 h 162"/>
              <a:gd name="T104" fmla="*/ 171 w 326"/>
              <a:gd name="T105" fmla="*/ 162 h 162"/>
              <a:gd name="T106" fmla="*/ 151 w 326"/>
              <a:gd name="T107" fmla="*/ 87 h 162"/>
              <a:gd name="T108" fmla="*/ 180 w 326"/>
              <a:gd name="T109" fmla="*/ 97 h 162"/>
              <a:gd name="T110" fmla="*/ 197 w 326"/>
              <a:gd name="T111" fmla="*/ 162 h 162"/>
              <a:gd name="T112" fmla="*/ 199 w 326"/>
              <a:gd name="T113" fmla="*/ 100 h 162"/>
              <a:gd name="T114" fmla="*/ 190 w 326"/>
              <a:gd name="T115" fmla="*/ 87 h 162"/>
              <a:gd name="T116" fmla="*/ 185 w 326"/>
              <a:gd name="T117" fmla="*/ 15 h 162"/>
              <a:gd name="T118" fmla="*/ 156 w 326"/>
              <a:gd name="T119" fmla="*/ 1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162">
                <a:moveTo>
                  <a:pt x="62" y="0"/>
                </a:moveTo>
                <a:cubicBezTo>
                  <a:pt x="70" y="0"/>
                  <a:pt x="77" y="7"/>
                  <a:pt x="77" y="15"/>
                </a:cubicBezTo>
                <a:cubicBezTo>
                  <a:pt x="77" y="23"/>
                  <a:pt x="70" y="29"/>
                  <a:pt x="62" y="29"/>
                </a:cubicBezTo>
                <a:cubicBezTo>
                  <a:pt x="54" y="29"/>
                  <a:pt x="48" y="23"/>
                  <a:pt x="48" y="15"/>
                </a:cubicBezTo>
                <a:cubicBezTo>
                  <a:pt x="48" y="7"/>
                  <a:pt x="54" y="0"/>
                  <a:pt x="62" y="0"/>
                </a:cubicBezTo>
                <a:close/>
                <a:moveTo>
                  <a:pt x="279" y="3"/>
                </a:moveTo>
                <a:cubicBezTo>
                  <a:pt x="287" y="3"/>
                  <a:pt x="293" y="10"/>
                  <a:pt x="293" y="18"/>
                </a:cubicBezTo>
                <a:cubicBezTo>
                  <a:pt x="293" y="26"/>
                  <a:pt x="287" y="33"/>
                  <a:pt x="279" y="33"/>
                </a:cubicBezTo>
                <a:cubicBezTo>
                  <a:pt x="271" y="33"/>
                  <a:pt x="264" y="26"/>
                  <a:pt x="264" y="18"/>
                </a:cubicBezTo>
                <a:cubicBezTo>
                  <a:pt x="264" y="10"/>
                  <a:pt x="271" y="3"/>
                  <a:pt x="279" y="3"/>
                </a:cubicBezTo>
                <a:close/>
                <a:moveTo>
                  <a:pt x="137" y="65"/>
                </a:moveTo>
                <a:cubicBezTo>
                  <a:pt x="140" y="65"/>
                  <a:pt x="140" y="65"/>
                  <a:pt x="140" y="65"/>
                </a:cubicBezTo>
                <a:cubicBezTo>
                  <a:pt x="141" y="62"/>
                  <a:pt x="141" y="62"/>
                  <a:pt x="141" y="62"/>
                </a:cubicBezTo>
                <a:cubicBezTo>
                  <a:pt x="138" y="62"/>
                  <a:pt x="138" y="62"/>
                  <a:pt x="138" y="62"/>
                </a:cubicBezTo>
                <a:lnTo>
                  <a:pt x="137" y="65"/>
                </a:lnTo>
                <a:close/>
                <a:moveTo>
                  <a:pt x="293" y="33"/>
                </a:moveTo>
                <a:cubicBezTo>
                  <a:pt x="284" y="36"/>
                  <a:pt x="284" y="36"/>
                  <a:pt x="284" y="36"/>
                </a:cubicBezTo>
                <a:cubicBezTo>
                  <a:pt x="280" y="45"/>
                  <a:pt x="280" y="45"/>
                  <a:pt x="280" y="45"/>
                </a:cubicBezTo>
                <a:cubicBezTo>
                  <a:pt x="277" y="36"/>
                  <a:pt x="277" y="36"/>
                  <a:pt x="277" y="36"/>
                </a:cubicBezTo>
                <a:cubicBezTo>
                  <a:pt x="268" y="55"/>
                  <a:pt x="268" y="55"/>
                  <a:pt x="268" y="55"/>
                </a:cubicBezTo>
                <a:cubicBezTo>
                  <a:pt x="245" y="62"/>
                  <a:pt x="245" y="62"/>
                  <a:pt x="245" y="62"/>
                </a:cubicBezTo>
                <a:cubicBezTo>
                  <a:pt x="229" y="62"/>
                  <a:pt x="229" y="62"/>
                  <a:pt x="229" y="62"/>
                </a:cubicBezTo>
                <a:cubicBezTo>
                  <a:pt x="232" y="55"/>
                  <a:pt x="232" y="55"/>
                  <a:pt x="232" y="55"/>
                </a:cubicBezTo>
                <a:cubicBezTo>
                  <a:pt x="230" y="55"/>
                  <a:pt x="228" y="57"/>
                  <a:pt x="228" y="58"/>
                </a:cubicBezTo>
                <a:cubicBezTo>
                  <a:pt x="226" y="62"/>
                  <a:pt x="226" y="62"/>
                  <a:pt x="226" y="62"/>
                </a:cubicBezTo>
                <a:cubicBezTo>
                  <a:pt x="222" y="62"/>
                  <a:pt x="222" y="62"/>
                  <a:pt x="222" y="62"/>
                </a:cubicBezTo>
                <a:cubicBezTo>
                  <a:pt x="222" y="64"/>
                  <a:pt x="223" y="66"/>
                  <a:pt x="224" y="67"/>
                </a:cubicBezTo>
                <a:cubicBezTo>
                  <a:pt x="222" y="71"/>
                  <a:pt x="222" y="71"/>
                  <a:pt x="222" y="71"/>
                </a:cubicBezTo>
                <a:cubicBezTo>
                  <a:pt x="209" y="71"/>
                  <a:pt x="209" y="71"/>
                  <a:pt x="209" y="71"/>
                </a:cubicBezTo>
                <a:cubicBezTo>
                  <a:pt x="206" y="55"/>
                  <a:pt x="203" y="36"/>
                  <a:pt x="193" y="36"/>
                </a:cubicBezTo>
                <a:cubicBezTo>
                  <a:pt x="177" y="35"/>
                  <a:pt x="177" y="35"/>
                  <a:pt x="177" y="35"/>
                </a:cubicBezTo>
                <a:cubicBezTo>
                  <a:pt x="171" y="49"/>
                  <a:pt x="171" y="49"/>
                  <a:pt x="171" y="49"/>
                </a:cubicBezTo>
                <a:cubicBezTo>
                  <a:pt x="164" y="35"/>
                  <a:pt x="164" y="35"/>
                  <a:pt x="164" y="35"/>
                </a:cubicBezTo>
                <a:cubicBezTo>
                  <a:pt x="148" y="36"/>
                  <a:pt x="148" y="36"/>
                  <a:pt x="148" y="36"/>
                </a:cubicBezTo>
                <a:cubicBezTo>
                  <a:pt x="140" y="36"/>
                  <a:pt x="137" y="48"/>
                  <a:pt x="134" y="62"/>
                </a:cubicBezTo>
                <a:cubicBezTo>
                  <a:pt x="138" y="62"/>
                  <a:pt x="138" y="62"/>
                  <a:pt x="138" y="62"/>
                </a:cubicBezTo>
                <a:cubicBezTo>
                  <a:pt x="149" y="36"/>
                  <a:pt x="149" y="36"/>
                  <a:pt x="149" y="36"/>
                </a:cubicBezTo>
                <a:cubicBezTo>
                  <a:pt x="151" y="36"/>
                  <a:pt x="152" y="38"/>
                  <a:pt x="151" y="40"/>
                </a:cubicBezTo>
                <a:cubicBezTo>
                  <a:pt x="141" y="62"/>
                  <a:pt x="141" y="62"/>
                  <a:pt x="141" y="62"/>
                </a:cubicBezTo>
                <a:cubicBezTo>
                  <a:pt x="164" y="62"/>
                  <a:pt x="164" y="62"/>
                  <a:pt x="164" y="62"/>
                </a:cubicBezTo>
                <a:cubicBezTo>
                  <a:pt x="161" y="55"/>
                  <a:pt x="161" y="55"/>
                  <a:pt x="161" y="55"/>
                </a:cubicBezTo>
                <a:cubicBezTo>
                  <a:pt x="163" y="55"/>
                  <a:pt x="165" y="57"/>
                  <a:pt x="166" y="58"/>
                </a:cubicBezTo>
                <a:cubicBezTo>
                  <a:pt x="167" y="62"/>
                  <a:pt x="167" y="62"/>
                  <a:pt x="167" y="62"/>
                </a:cubicBezTo>
                <a:cubicBezTo>
                  <a:pt x="174" y="63"/>
                  <a:pt x="174" y="71"/>
                  <a:pt x="174" y="71"/>
                </a:cubicBezTo>
                <a:cubicBezTo>
                  <a:pt x="137" y="71"/>
                  <a:pt x="137" y="71"/>
                  <a:pt x="137" y="71"/>
                </a:cubicBezTo>
                <a:cubicBezTo>
                  <a:pt x="138" y="71"/>
                  <a:pt x="140" y="70"/>
                  <a:pt x="140" y="68"/>
                </a:cubicBezTo>
                <a:cubicBezTo>
                  <a:pt x="119" y="68"/>
                  <a:pt x="119" y="68"/>
                  <a:pt x="119" y="68"/>
                </a:cubicBezTo>
                <a:cubicBezTo>
                  <a:pt x="103" y="68"/>
                  <a:pt x="103" y="68"/>
                  <a:pt x="103" y="68"/>
                </a:cubicBezTo>
                <a:cubicBezTo>
                  <a:pt x="103" y="70"/>
                  <a:pt x="104" y="71"/>
                  <a:pt x="106" y="71"/>
                </a:cubicBezTo>
                <a:cubicBezTo>
                  <a:pt x="93" y="71"/>
                  <a:pt x="93" y="71"/>
                  <a:pt x="93" y="71"/>
                </a:cubicBezTo>
                <a:cubicBezTo>
                  <a:pt x="106" y="65"/>
                  <a:pt x="106" y="65"/>
                  <a:pt x="106" y="65"/>
                </a:cubicBezTo>
                <a:cubicBezTo>
                  <a:pt x="119" y="68"/>
                  <a:pt x="119" y="68"/>
                  <a:pt x="119" y="68"/>
                </a:cubicBezTo>
                <a:cubicBezTo>
                  <a:pt x="119" y="62"/>
                  <a:pt x="103" y="58"/>
                  <a:pt x="103" y="58"/>
                </a:cubicBezTo>
                <a:cubicBezTo>
                  <a:pt x="74" y="62"/>
                  <a:pt x="74" y="62"/>
                  <a:pt x="74" y="62"/>
                </a:cubicBezTo>
                <a:cubicBezTo>
                  <a:pt x="64" y="36"/>
                  <a:pt x="64" y="36"/>
                  <a:pt x="64" y="36"/>
                </a:cubicBezTo>
                <a:cubicBezTo>
                  <a:pt x="62" y="48"/>
                  <a:pt x="62" y="48"/>
                  <a:pt x="62" y="48"/>
                </a:cubicBezTo>
                <a:cubicBezTo>
                  <a:pt x="45" y="29"/>
                  <a:pt x="45" y="29"/>
                  <a:pt x="45" y="29"/>
                </a:cubicBezTo>
                <a:cubicBezTo>
                  <a:pt x="45" y="29"/>
                  <a:pt x="22" y="39"/>
                  <a:pt x="22" y="97"/>
                </a:cubicBezTo>
                <a:cubicBezTo>
                  <a:pt x="22" y="100"/>
                  <a:pt x="22" y="100"/>
                  <a:pt x="22" y="100"/>
                </a:cubicBezTo>
                <a:cubicBezTo>
                  <a:pt x="22" y="106"/>
                  <a:pt x="27" y="110"/>
                  <a:pt x="32" y="110"/>
                </a:cubicBezTo>
                <a:cubicBezTo>
                  <a:pt x="38" y="110"/>
                  <a:pt x="38" y="110"/>
                  <a:pt x="38" y="110"/>
                </a:cubicBezTo>
                <a:cubicBezTo>
                  <a:pt x="67" y="110"/>
                  <a:pt x="67" y="110"/>
                  <a:pt x="67" y="110"/>
                </a:cubicBezTo>
                <a:cubicBezTo>
                  <a:pt x="87" y="162"/>
                  <a:pt x="87" y="162"/>
                  <a:pt x="87" y="162"/>
                </a:cubicBezTo>
                <a:cubicBezTo>
                  <a:pt x="109" y="162"/>
                  <a:pt x="109" y="162"/>
                  <a:pt x="109" y="162"/>
                </a:cubicBezTo>
                <a:cubicBezTo>
                  <a:pt x="109" y="157"/>
                  <a:pt x="107" y="154"/>
                  <a:pt x="103" y="152"/>
                </a:cubicBezTo>
                <a:cubicBezTo>
                  <a:pt x="97" y="136"/>
                  <a:pt x="97" y="136"/>
                  <a:pt x="97" y="136"/>
                </a:cubicBezTo>
                <a:cubicBezTo>
                  <a:pt x="97" y="94"/>
                  <a:pt x="97" y="94"/>
                  <a:pt x="97" y="94"/>
                </a:cubicBezTo>
                <a:cubicBezTo>
                  <a:pt x="97" y="90"/>
                  <a:pt x="94" y="87"/>
                  <a:pt x="90" y="87"/>
                </a:cubicBezTo>
                <a:cubicBezTo>
                  <a:pt x="64" y="87"/>
                  <a:pt x="64" y="87"/>
                  <a:pt x="64" y="87"/>
                </a:cubicBezTo>
                <a:cubicBezTo>
                  <a:pt x="61" y="81"/>
                  <a:pt x="61" y="81"/>
                  <a:pt x="61" y="81"/>
                </a:cubicBezTo>
                <a:cubicBezTo>
                  <a:pt x="271" y="81"/>
                  <a:pt x="271" y="81"/>
                  <a:pt x="271" y="81"/>
                </a:cubicBezTo>
                <a:cubicBezTo>
                  <a:pt x="271" y="87"/>
                  <a:pt x="271" y="87"/>
                  <a:pt x="271" y="87"/>
                </a:cubicBezTo>
                <a:cubicBezTo>
                  <a:pt x="245" y="87"/>
                  <a:pt x="245" y="87"/>
                  <a:pt x="245" y="87"/>
                </a:cubicBezTo>
                <a:cubicBezTo>
                  <a:pt x="241" y="87"/>
                  <a:pt x="239" y="90"/>
                  <a:pt x="239" y="94"/>
                </a:cubicBezTo>
                <a:cubicBezTo>
                  <a:pt x="242" y="152"/>
                  <a:pt x="242" y="152"/>
                  <a:pt x="242" y="152"/>
                </a:cubicBezTo>
                <a:cubicBezTo>
                  <a:pt x="237" y="153"/>
                  <a:pt x="234" y="157"/>
                  <a:pt x="236" y="162"/>
                </a:cubicBezTo>
                <a:cubicBezTo>
                  <a:pt x="258" y="162"/>
                  <a:pt x="258" y="162"/>
                  <a:pt x="258" y="162"/>
                </a:cubicBezTo>
                <a:cubicBezTo>
                  <a:pt x="264" y="110"/>
                  <a:pt x="264" y="110"/>
                  <a:pt x="264" y="110"/>
                </a:cubicBezTo>
                <a:cubicBezTo>
                  <a:pt x="293" y="110"/>
                  <a:pt x="293" y="110"/>
                  <a:pt x="293" y="110"/>
                </a:cubicBezTo>
                <a:cubicBezTo>
                  <a:pt x="299" y="110"/>
                  <a:pt x="303" y="106"/>
                  <a:pt x="303" y="100"/>
                </a:cubicBezTo>
                <a:cubicBezTo>
                  <a:pt x="303" y="97"/>
                  <a:pt x="303" y="97"/>
                  <a:pt x="303" y="97"/>
                </a:cubicBezTo>
                <a:cubicBezTo>
                  <a:pt x="303" y="39"/>
                  <a:pt x="293" y="33"/>
                  <a:pt x="293" y="33"/>
                </a:cubicBezTo>
                <a:close/>
                <a:moveTo>
                  <a:pt x="226" y="71"/>
                </a:moveTo>
                <a:cubicBezTo>
                  <a:pt x="226" y="70"/>
                  <a:pt x="226" y="70"/>
                  <a:pt x="226" y="70"/>
                </a:cubicBezTo>
                <a:cubicBezTo>
                  <a:pt x="229" y="71"/>
                  <a:pt x="232" y="71"/>
                  <a:pt x="232" y="71"/>
                </a:cubicBezTo>
                <a:lnTo>
                  <a:pt x="226" y="71"/>
                </a:lnTo>
                <a:close/>
                <a:moveTo>
                  <a:pt x="0" y="52"/>
                </a:moveTo>
                <a:cubicBezTo>
                  <a:pt x="6" y="107"/>
                  <a:pt x="6" y="107"/>
                  <a:pt x="6" y="107"/>
                </a:cubicBezTo>
                <a:cubicBezTo>
                  <a:pt x="6" y="152"/>
                  <a:pt x="6" y="152"/>
                  <a:pt x="6" y="152"/>
                </a:cubicBezTo>
                <a:cubicBezTo>
                  <a:pt x="6" y="157"/>
                  <a:pt x="11" y="162"/>
                  <a:pt x="16" y="162"/>
                </a:cubicBezTo>
                <a:cubicBezTo>
                  <a:pt x="16" y="107"/>
                  <a:pt x="16" y="107"/>
                  <a:pt x="16" y="107"/>
                </a:cubicBezTo>
                <a:cubicBezTo>
                  <a:pt x="9" y="62"/>
                  <a:pt x="9" y="62"/>
                  <a:pt x="9" y="62"/>
                </a:cubicBezTo>
                <a:cubicBezTo>
                  <a:pt x="9" y="56"/>
                  <a:pt x="5" y="52"/>
                  <a:pt x="0" y="52"/>
                </a:cubicBezTo>
                <a:close/>
                <a:moveTo>
                  <a:pt x="316" y="62"/>
                </a:moveTo>
                <a:cubicBezTo>
                  <a:pt x="310" y="107"/>
                  <a:pt x="310" y="107"/>
                  <a:pt x="310" y="107"/>
                </a:cubicBezTo>
                <a:cubicBezTo>
                  <a:pt x="310" y="162"/>
                  <a:pt x="310" y="162"/>
                  <a:pt x="310" y="162"/>
                </a:cubicBezTo>
                <a:cubicBezTo>
                  <a:pt x="315" y="162"/>
                  <a:pt x="319" y="157"/>
                  <a:pt x="319" y="152"/>
                </a:cubicBezTo>
                <a:cubicBezTo>
                  <a:pt x="319" y="107"/>
                  <a:pt x="319" y="107"/>
                  <a:pt x="319" y="107"/>
                </a:cubicBezTo>
                <a:cubicBezTo>
                  <a:pt x="326" y="52"/>
                  <a:pt x="326" y="52"/>
                  <a:pt x="326" y="52"/>
                </a:cubicBezTo>
                <a:cubicBezTo>
                  <a:pt x="320" y="52"/>
                  <a:pt x="316" y="56"/>
                  <a:pt x="316" y="62"/>
                </a:cubicBezTo>
                <a:close/>
                <a:moveTo>
                  <a:pt x="151" y="87"/>
                </a:moveTo>
                <a:cubicBezTo>
                  <a:pt x="146" y="87"/>
                  <a:pt x="142" y="92"/>
                  <a:pt x="142" y="97"/>
                </a:cubicBezTo>
                <a:cubicBezTo>
                  <a:pt x="142" y="98"/>
                  <a:pt x="142" y="99"/>
                  <a:pt x="142" y="100"/>
                </a:cubicBezTo>
                <a:cubicBezTo>
                  <a:pt x="150" y="153"/>
                  <a:pt x="150" y="153"/>
                  <a:pt x="150" y="153"/>
                </a:cubicBezTo>
                <a:cubicBezTo>
                  <a:pt x="147" y="155"/>
                  <a:pt x="145" y="158"/>
                  <a:pt x="145" y="162"/>
                </a:cubicBezTo>
                <a:cubicBezTo>
                  <a:pt x="171" y="162"/>
                  <a:pt x="171" y="162"/>
                  <a:pt x="171" y="162"/>
                </a:cubicBezTo>
                <a:cubicBezTo>
                  <a:pt x="161" y="97"/>
                  <a:pt x="161" y="97"/>
                  <a:pt x="161" y="97"/>
                </a:cubicBezTo>
                <a:cubicBezTo>
                  <a:pt x="161" y="92"/>
                  <a:pt x="157" y="87"/>
                  <a:pt x="151" y="87"/>
                </a:cubicBezTo>
                <a:close/>
                <a:moveTo>
                  <a:pt x="190" y="87"/>
                </a:moveTo>
                <a:cubicBezTo>
                  <a:pt x="185" y="87"/>
                  <a:pt x="180" y="92"/>
                  <a:pt x="180" y="97"/>
                </a:cubicBezTo>
                <a:cubicBezTo>
                  <a:pt x="171" y="162"/>
                  <a:pt x="171" y="162"/>
                  <a:pt x="171" y="162"/>
                </a:cubicBezTo>
                <a:cubicBezTo>
                  <a:pt x="197" y="162"/>
                  <a:pt x="197" y="162"/>
                  <a:pt x="197" y="162"/>
                </a:cubicBezTo>
                <a:cubicBezTo>
                  <a:pt x="197" y="158"/>
                  <a:pt x="194" y="155"/>
                  <a:pt x="191" y="153"/>
                </a:cubicBezTo>
                <a:cubicBezTo>
                  <a:pt x="199" y="100"/>
                  <a:pt x="199" y="100"/>
                  <a:pt x="199" y="100"/>
                </a:cubicBezTo>
                <a:cubicBezTo>
                  <a:pt x="200" y="99"/>
                  <a:pt x="200" y="98"/>
                  <a:pt x="200" y="97"/>
                </a:cubicBezTo>
                <a:cubicBezTo>
                  <a:pt x="200" y="92"/>
                  <a:pt x="195" y="87"/>
                  <a:pt x="190" y="87"/>
                </a:cubicBezTo>
                <a:close/>
                <a:moveTo>
                  <a:pt x="171" y="0"/>
                </a:moveTo>
                <a:cubicBezTo>
                  <a:pt x="179" y="0"/>
                  <a:pt x="185" y="7"/>
                  <a:pt x="185" y="15"/>
                </a:cubicBezTo>
                <a:cubicBezTo>
                  <a:pt x="185" y="23"/>
                  <a:pt x="179" y="29"/>
                  <a:pt x="171" y="29"/>
                </a:cubicBezTo>
                <a:cubicBezTo>
                  <a:pt x="163" y="29"/>
                  <a:pt x="156" y="23"/>
                  <a:pt x="156" y="15"/>
                </a:cubicBezTo>
                <a:cubicBezTo>
                  <a:pt x="156" y="7"/>
                  <a:pt x="163" y="0"/>
                  <a:pt x="171" y="0"/>
                </a:cubicBezTo>
                <a:close/>
              </a:path>
            </a:pathLst>
          </a:custGeom>
          <a:solidFill>
            <a:schemeClr val="bg1"/>
          </a:solidFill>
          <a:ln>
            <a:solidFill>
              <a:schemeClr val="bg1"/>
            </a:solidFill>
          </a:ln>
          <a:extLst/>
        </p:spPr>
        <p:txBody>
          <a:bodyPr vert="horz" wrap="square" lIns="89617" tIns="44808" rIns="89617" bIns="44808"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1682866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3003775" y="2846414"/>
            <a:ext cx="3585190" cy="1210002"/>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Microsoft &amp; Containers– better together</a:t>
            </a:r>
          </a:p>
        </p:txBody>
      </p:sp>
      <p:sp>
        <p:nvSpPr>
          <p:cNvPr id="4" name="Rectangle 3"/>
          <p:cNvSpPr/>
          <p:nvPr/>
        </p:nvSpPr>
        <p:spPr bwMode="auto">
          <a:xfrm>
            <a:off x="270130" y="1591610"/>
            <a:ext cx="2688892" cy="121000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rPr>
              <a:t>Any OS</a:t>
            </a:r>
          </a:p>
        </p:txBody>
      </p:sp>
      <p:sp>
        <p:nvSpPr>
          <p:cNvPr id="5" name="Rectangle 4"/>
          <p:cNvSpPr/>
          <p:nvPr/>
        </p:nvSpPr>
        <p:spPr bwMode="auto">
          <a:xfrm>
            <a:off x="270130" y="2846414"/>
            <a:ext cx="2688892" cy="121000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rPr>
              <a:t>Anywhere</a:t>
            </a:r>
          </a:p>
        </p:txBody>
      </p:sp>
      <p:sp>
        <p:nvSpPr>
          <p:cNvPr id="6" name="Rectangle 5"/>
          <p:cNvSpPr/>
          <p:nvPr/>
        </p:nvSpPr>
        <p:spPr bwMode="auto">
          <a:xfrm>
            <a:off x="270130" y="4101216"/>
            <a:ext cx="2688892" cy="121000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rPr>
              <a:t>Any app</a:t>
            </a:r>
          </a:p>
        </p:txBody>
      </p:sp>
      <p:sp>
        <p:nvSpPr>
          <p:cNvPr id="7" name="Rectangle 6"/>
          <p:cNvSpPr/>
          <p:nvPr/>
        </p:nvSpPr>
        <p:spPr bwMode="auto">
          <a:xfrm>
            <a:off x="270130" y="5356006"/>
            <a:ext cx="2688892" cy="121000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rPr>
              <a:t>Any language</a:t>
            </a:r>
          </a:p>
        </p:txBody>
      </p:sp>
      <p:pic>
        <p:nvPicPr>
          <p:cNvPr id="8" name="Picture 7"/>
          <p:cNvPicPr>
            <a:picLocks noChangeAspect="1"/>
          </p:cNvPicPr>
          <p:nvPr/>
        </p:nvPicPr>
        <p:blipFill>
          <a:blip r:embed="rId3"/>
          <a:stretch>
            <a:fillRect/>
          </a:stretch>
        </p:blipFill>
        <p:spPr>
          <a:xfrm>
            <a:off x="3481058" y="2915845"/>
            <a:ext cx="838030" cy="838030"/>
          </a:xfrm>
          <a:prstGeom prst="rect">
            <a:avLst/>
          </a:prstGeom>
        </p:spPr>
      </p:pic>
      <p:pic>
        <p:nvPicPr>
          <p:cNvPr id="9" name="Picture 8"/>
          <p:cNvPicPr>
            <a:picLocks noChangeAspect="1"/>
          </p:cNvPicPr>
          <p:nvPr/>
        </p:nvPicPr>
        <p:blipFill>
          <a:blip r:embed="rId4"/>
          <a:stretch>
            <a:fillRect/>
          </a:stretch>
        </p:blipFill>
        <p:spPr>
          <a:xfrm>
            <a:off x="5334417" y="3061205"/>
            <a:ext cx="716503" cy="485067"/>
          </a:xfrm>
          <a:prstGeom prst="rect">
            <a:avLst/>
          </a:prstGeom>
        </p:spPr>
      </p:pic>
      <p:sp>
        <p:nvSpPr>
          <p:cNvPr id="11" name="TextBox 10"/>
          <p:cNvSpPr txBox="1"/>
          <p:nvPr/>
        </p:nvSpPr>
        <p:spPr>
          <a:xfrm>
            <a:off x="3003774" y="3549587"/>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On-premises</a:t>
            </a:r>
          </a:p>
        </p:txBody>
      </p:sp>
      <p:sp>
        <p:nvSpPr>
          <p:cNvPr id="12" name="TextBox 11"/>
          <p:cNvSpPr txBox="1"/>
          <p:nvPr/>
        </p:nvSpPr>
        <p:spPr>
          <a:xfrm>
            <a:off x="4796370" y="3549587"/>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Hosted</a:t>
            </a:r>
          </a:p>
        </p:txBody>
      </p:sp>
      <p:sp>
        <p:nvSpPr>
          <p:cNvPr id="13" name="Rectangle 12"/>
          <p:cNvSpPr/>
          <p:nvPr/>
        </p:nvSpPr>
        <p:spPr bwMode="auto">
          <a:xfrm>
            <a:off x="3003775" y="4101216"/>
            <a:ext cx="3585190" cy="1210002"/>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16" name="TextBox 15"/>
          <p:cNvSpPr txBox="1"/>
          <p:nvPr/>
        </p:nvSpPr>
        <p:spPr>
          <a:xfrm>
            <a:off x="3003774" y="4804391"/>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Monolith</a:t>
            </a:r>
          </a:p>
        </p:txBody>
      </p:sp>
      <p:sp>
        <p:nvSpPr>
          <p:cNvPr id="17" name="TextBox 16"/>
          <p:cNvSpPr txBox="1"/>
          <p:nvPr/>
        </p:nvSpPr>
        <p:spPr>
          <a:xfrm>
            <a:off x="4796370" y="4804391"/>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Microservice</a:t>
            </a:r>
          </a:p>
        </p:txBody>
      </p:sp>
      <p:sp>
        <p:nvSpPr>
          <p:cNvPr id="18" name="Rectangle 17"/>
          <p:cNvSpPr/>
          <p:nvPr/>
        </p:nvSpPr>
        <p:spPr bwMode="auto">
          <a:xfrm>
            <a:off x="3003775" y="1591610"/>
            <a:ext cx="3585190" cy="1210002"/>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21" name="TextBox 20"/>
          <p:cNvSpPr txBox="1"/>
          <p:nvPr/>
        </p:nvSpPr>
        <p:spPr>
          <a:xfrm>
            <a:off x="3003774" y="2294784"/>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Linux</a:t>
            </a:r>
          </a:p>
        </p:txBody>
      </p:sp>
      <p:sp>
        <p:nvSpPr>
          <p:cNvPr id="22" name="TextBox 21"/>
          <p:cNvSpPr txBox="1"/>
          <p:nvPr/>
        </p:nvSpPr>
        <p:spPr>
          <a:xfrm>
            <a:off x="4796370" y="2294784"/>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Windows</a:t>
            </a:r>
          </a:p>
        </p:txBody>
      </p:sp>
      <p:sp>
        <p:nvSpPr>
          <p:cNvPr id="23" name="Rectangle 22"/>
          <p:cNvSpPr/>
          <p:nvPr/>
        </p:nvSpPr>
        <p:spPr bwMode="auto">
          <a:xfrm>
            <a:off x="3003775" y="5356006"/>
            <a:ext cx="3585190" cy="1210002"/>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26" name="TextBox 25"/>
          <p:cNvSpPr txBox="1"/>
          <p:nvPr/>
        </p:nvSpPr>
        <p:spPr>
          <a:xfrm>
            <a:off x="3003774" y="6059179"/>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NET</a:t>
            </a:r>
          </a:p>
        </p:txBody>
      </p:sp>
      <p:sp>
        <p:nvSpPr>
          <p:cNvPr id="27" name="TextBox 26"/>
          <p:cNvSpPr txBox="1"/>
          <p:nvPr/>
        </p:nvSpPr>
        <p:spPr>
          <a:xfrm>
            <a:off x="4796370" y="6059179"/>
            <a:ext cx="1792596" cy="506829"/>
          </a:xfrm>
          <a:prstGeom prst="rect">
            <a:avLst/>
          </a:prstGeom>
          <a:noFill/>
        </p:spPr>
        <p:txBody>
          <a:bodyPr wrap="square" lIns="179259" tIns="143407" rIns="179259" bIns="143407" rtlCol="0" anchor="b" anchorCtr="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dirty="0">
                <a:ln>
                  <a:noFill/>
                </a:ln>
                <a:gradFill>
                  <a:gsLst>
                    <a:gs pos="74457">
                      <a:prstClr val="black"/>
                    </a:gs>
                    <a:gs pos="54000">
                      <a:prstClr val="black"/>
                    </a:gs>
                  </a:gsLst>
                  <a:lin ang="5400000" scaled="1"/>
                </a:gradFill>
                <a:effectLst/>
                <a:uLnTx/>
                <a:uFillTx/>
                <a:latin typeface="Calibri" panose="020F0502020204030204"/>
                <a:ea typeface="+mn-ea"/>
                <a:cs typeface="+mn-cs"/>
              </a:rPr>
              <a:t>Java</a:t>
            </a:r>
          </a:p>
        </p:txBody>
      </p:sp>
      <p:sp>
        <p:nvSpPr>
          <p:cNvPr id="28" name="Freeform 27"/>
          <p:cNvSpPr>
            <a:spLocks noChangeAspect="1" noEditPoints="1"/>
          </p:cNvSpPr>
          <p:nvPr/>
        </p:nvSpPr>
        <p:spPr bwMode="black">
          <a:xfrm>
            <a:off x="5458456" y="1845969"/>
            <a:ext cx="468423" cy="46652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2C6"/>
          </a:solidFill>
          <a:ln>
            <a:noFill/>
          </a:ln>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9" name="Picture 28"/>
          <p:cNvPicPr>
            <a:picLocks noChangeAspect="1"/>
          </p:cNvPicPr>
          <p:nvPr/>
        </p:nvPicPr>
        <p:blipFill>
          <a:blip r:embed="rId5"/>
          <a:stretch>
            <a:fillRect/>
          </a:stretch>
        </p:blipFill>
        <p:spPr>
          <a:xfrm>
            <a:off x="3590633" y="1685569"/>
            <a:ext cx="668674" cy="736156"/>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3648115" y="4273005"/>
            <a:ext cx="503917" cy="581160"/>
          </a:xfrm>
          <a:prstGeom prst="rect">
            <a:avLst/>
          </a:prstGeom>
        </p:spPr>
      </p:pic>
      <p:grpSp>
        <p:nvGrpSpPr>
          <p:cNvPr id="34" name="Group 33"/>
          <p:cNvGrpSpPr/>
          <p:nvPr/>
        </p:nvGrpSpPr>
        <p:grpSpPr>
          <a:xfrm>
            <a:off x="5353801" y="4246923"/>
            <a:ext cx="677734" cy="598735"/>
            <a:chOff x="10042446" y="1555767"/>
            <a:chExt cx="1672172" cy="1672172"/>
          </a:xfrm>
        </p:grpSpPr>
        <p:pic>
          <p:nvPicPr>
            <p:cNvPr id="35" name="Picture 34"/>
            <p:cNvPicPr>
              <a:picLocks noChangeAspect="1"/>
            </p:cNvPicPr>
            <p:nvPr/>
          </p:nvPicPr>
          <p:blipFill>
            <a:blip r:embed="rId7"/>
            <a:stretch>
              <a:fillRect/>
            </a:stretch>
          </p:blipFill>
          <p:spPr>
            <a:xfrm>
              <a:off x="10042446" y="1555767"/>
              <a:ext cx="1672172" cy="1672172"/>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41050" y="1925758"/>
              <a:ext cx="882901" cy="1076520"/>
            </a:xfrm>
            <a:prstGeom prst="rect">
              <a:avLst/>
            </a:prstGeom>
          </p:spPr>
        </p:pic>
      </p:grpSp>
      <p:pic>
        <p:nvPicPr>
          <p:cNvPr id="37" name="Picture 36"/>
          <p:cNvPicPr>
            <a:picLocks noChangeAspect="1"/>
          </p:cNvPicPr>
          <p:nvPr/>
        </p:nvPicPr>
        <p:blipFill>
          <a:blip r:embed="rId9"/>
          <a:stretch>
            <a:fillRect/>
          </a:stretch>
        </p:blipFill>
        <p:spPr>
          <a:xfrm>
            <a:off x="3477542" y="5587102"/>
            <a:ext cx="845060" cy="443657"/>
          </a:xfrm>
          <a:prstGeom prst="rect">
            <a:avLst/>
          </a:prstGeom>
        </p:spPr>
      </p:pic>
      <p:pic>
        <p:nvPicPr>
          <p:cNvPr id="38" name="Picture 37"/>
          <p:cNvPicPr>
            <a:picLocks noChangeAspect="1"/>
          </p:cNvPicPr>
          <p:nvPr/>
        </p:nvPicPr>
        <p:blipFill>
          <a:blip r:embed="rId10"/>
          <a:stretch>
            <a:fillRect/>
          </a:stretch>
        </p:blipFill>
        <p:spPr>
          <a:xfrm>
            <a:off x="5428980" y="5527808"/>
            <a:ext cx="527376" cy="562244"/>
          </a:xfrm>
          <a:prstGeom prst="rect">
            <a:avLst/>
          </a:prstGeom>
        </p:spPr>
      </p:pic>
      <p:sp>
        <p:nvSpPr>
          <p:cNvPr id="39" name="Rectangle 38"/>
          <p:cNvSpPr/>
          <p:nvPr/>
        </p:nvSpPr>
        <p:spPr>
          <a:xfrm>
            <a:off x="6812975" y="1591610"/>
            <a:ext cx="5108896" cy="4037804"/>
          </a:xfrm>
          <a:prstGeom prst="rect">
            <a:avLst/>
          </a:prstGeom>
          <a:noFill/>
        </p:spPr>
        <p:txBody>
          <a:bodyPr wrap="square" lIns="179259" tIns="143407" rIns="179259" bIns="143407">
            <a:spAutoFit/>
          </a:bodyPr>
          <a:lstStyle/>
          <a:p>
            <a:pPr marL="0" marR="0" lvl="0" indent="0" algn="l" defTabSz="914367" rtl="0" eaLnBrk="1" fontAlgn="auto" latinLnBrk="0" hangingPunct="1">
              <a:lnSpc>
                <a:spcPct val="90000"/>
              </a:lnSpc>
              <a:spcBef>
                <a:spcPts val="1765"/>
              </a:spcBef>
              <a:spcAft>
                <a:spcPts val="0"/>
              </a:spcAft>
              <a:buClrTx/>
              <a:buSzTx/>
              <a:buFontTx/>
              <a:buNone/>
              <a:tabLst/>
              <a:defRPr/>
            </a:pPr>
            <a:r>
              <a:rPr kumimoji="0" lang="en-US" sz="2353" b="1" i="0" u="none" strike="noStrike" kern="1200" cap="none" spc="0" normalizeH="0" baseline="0" noProof="0" dirty="0">
                <a:ln>
                  <a:noFill/>
                </a:ln>
                <a:gradFill>
                  <a:gsLst>
                    <a:gs pos="5978">
                      <a:srgbClr val="44546A"/>
                    </a:gs>
                    <a:gs pos="26000">
                      <a:srgbClr val="44546A"/>
                    </a:gs>
                  </a:gsLst>
                  <a:lin ang="5400000" scaled="1"/>
                </a:gradFill>
                <a:effectLst/>
                <a:uLnTx/>
                <a:uFillTx/>
                <a:latin typeface="Calibri" panose="020F0502020204030204"/>
                <a:ea typeface="+mn-ea"/>
                <a:cs typeface="+mn-cs"/>
              </a:rPr>
              <a:t>Arsenal</a:t>
            </a:r>
          </a:p>
          <a:p>
            <a:pPr marL="280067" marR="0" lvl="0" indent="-280067" algn="l" defTabSz="914367" rtl="0" eaLnBrk="1" fontAlgn="auto" latinLnBrk="0" hangingPunct="1">
              <a:lnSpc>
                <a:spcPct val="90000"/>
              </a:lnSpc>
              <a:spcBef>
                <a:spcPts val="1765"/>
              </a:spcBef>
              <a:spcAft>
                <a:spcPts val="0"/>
              </a:spcAft>
              <a:buClrTx/>
              <a:buSzTx/>
              <a:buFont typeface="Wingdings" charset="2"/>
              <a:buChar char="ü"/>
              <a:tabLst/>
              <a:defRPr/>
            </a:pPr>
            <a: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t>Linux Containers, Windows Server Containers, and Hyper-V Containers</a:t>
            </a:r>
          </a:p>
          <a:p>
            <a:pPr marL="280067" marR="0" lvl="0" indent="-280067" algn="l" defTabSz="914367" rtl="0" eaLnBrk="1" fontAlgn="auto" latinLnBrk="0" hangingPunct="1">
              <a:lnSpc>
                <a:spcPct val="90000"/>
              </a:lnSpc>
              <a:spcBef>
                <a:spcPts val="1765"/>
              </a:spcBef>
              <a:spcAft>
                <a:spcPts val="0"/>
              </a:spcAft>
              <a:buClrTx/>
              <a:buSzTx/>
              <a:buFont typeface="Wingdings" charset="2"/>
              <a:buChar char="ü"/>
              <a:tabLst/>
              <a:defRPr/>
            </a:pPr>
            <a: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t>Run on-premises, on Azure, on other public clouds, service provider clouds</a:t>
            </a:r>
          </a:p>
          <a:p>
            <a:pPr marL="280067" marR="0" lvl="0" indent="-280067" algn="l" defTabSz="914367" rtl="0" eaLnBrk="1" fontAlgn="auto" latinLnBrk="0" hangingPunct="1">
              <a:lnSpc>
                <a:spcPct val="90000"/>
              </a:lnSpc>
              <a:spcBef>
                <a:spcPts val="1765"/>
              </a:spcBef>
              <a:spcAft>
                <a:spcPts val="0"/>
              </a:spcAft>
              <a:buClrTx/>
              <a:buSzTx/>
              <a:buFont typeface="Wingdings" charset="2"/>
              <a:buChar char="ü"/>
              <a:tabLst/>
              <a:defRPr/>
            </a:pPr>
            <a: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t>Monoliths, Microservices, and other </a:t>
            </a:r>
            <a:b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br>
            <a: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t>app types</a:t>
            </a:r>
          </a:p>
          <a:p>
            <a:pPr marL="280067" marR="0" lvl="0" indent="-280067" algn="l" defTabSz="914367" rtl="0" eaLnBrk="1" fontAlgn="auto" latinLnBrk="0" hangingPunct="1">
              <a:lnSpc>
                <a:spcPct val="90000"/>
              </a:lnSpc>
              <a:spcBef>
                <a:spcPts val="1765"/>
              </a:spcBef>
              <a:spcAft>
                <a:spcPts val="0"/>
              </a:spcAft>
              <a:buClrTx/>
              <a:buSzTx/>
              <a:buFont typeface="Wingdings" charset="2"/>
              <a:buChar char="ü"/>
              <a:tabLst/>
              <a:defRPr/>
            </a:pPr>
            <a: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t>Development frameworks and environments supported: Microsoft </a:t>
            </a:r>
            <a:b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br>
            <a:r>
              <a:rPr kumimoji="0" lang="en-US" sz="1961" b="0" i="0" u="none" strike="noStrike" kern="1200" cap="none" spc="0" normalizeH="0" baseline="0" noProof="0" dirty="0">
                <a:ln>
                  <a:noFill/>
                </a:ln>
                <a:gradFill>
                  <a:gsLst>
                    <a:gs pos="31522">
                      <a:prstClr val="black"/>
                    </a:gs>
                    <a:gs pos="26000">
                      <a:prstClr val="black"/>
                    </a:gs>
                  </a:gsLst>
                  <a:lin ang="5400000" scaled="1"/>
                </a:gradFill>
                <a:effectLst/>
                <a:uLnTx/>
                <a:uFillTx/>
                <a:latin typeface="Calibri" panose="020F0502020204030204"/>
                <a:ea typeface="+mn-ea"/>
                <a:cs typeface="+mn-cs"/>
              </a:rPr>
              <a:t>and ecosystem</a:t>
            </a:r>
          </a:p>
        </p:txBody>
      </p:sp>
    </p:spTree>
    <p:extLst>
      <p:ext uri="{BB962C8B-B14F-4D97-AF65-F5344CB8AC3E}">
        <p14:creationId xmlns:p14="http://schemas.microsoft.com/office/powerpoint/2010/main" val="12796426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0288A-3D54-4BE5-88C5-964CCBB1A8C7}"/>
              </a:ext>
            </a:extLst>
          </p:cNvPr>
          <p:cNvSpPr>
            <a:spLocks noGrp="1"/>
          </p:cNvSpPr>
          <p:nvPr>
            <p:ph type="title"/>
          </p:nvPr>
        </p:nvSpPr>
        <p:spPr/>
        <p:txBody>
          <a:bodyPr/>
          <a:lstStyle/>
          <a:p>
            <a:r>
              <a:rPr lang="es-ES" dirty="0"/>
              <a:t>Microsoft Azure Support for containers</a:t>
            </a:r>
          </a:p>
        </p:txBody>
      </p:sp>
      <p:grpSp>
        <p:nvGrpSpPr>
          <p:cNvPr id="15" name="Group 14">
            <a:extLst>
              <a:ext uri="{FF2B5EF4-FFF2-40B4-BE49-F238E27FC236}">
                <a16:creationId xmlns:a16="http://schemas.microsoft.com/office/drawing/2014/main" id="{A0EF396D-6553-47DC-91E4-A290E5F91595}"/>
              </a:ext>
            </a:extLst>
          </p:cNvPr>
          <p:cNvGrpSpPr/>
          <p:nvPr/>
        </p:nvGrpSpPr>
        <p:grpSpPr>
          <a:xfrm>
            <a:off x="9248512" y="2218125"/>
            <a:ext cx="1918162" cy="2929209"/>
            <a:chOff x="8996705" y="4776264"/>
            <a:chExt cx="946656" cy="1445631"/>
          </a:xfrm>
        </p:grpSpPr>
        <p:sp>
          <p:nvSpPr>
            <p:cNvPr id="16" name="Text Placeholder 13">
              <a:extLst>
                <a:ext uri="{FF2B5EF4-FFF2-40B4-BE49-F238E27FC236}">
                  <a16:creationId xmlns:a16="http://schemas.microsoft.com/office/drawing/2014/main" id="{B96F4897-5191-410B-BEB2-00EFDFAE60D8}"/>
                </a:ext>
              </a:extLst>
            </p:cNvPr>
            <p:cNvSpPr txBox="1">
              <a:spLocks/>
            </p:cNvSpPr>
            <p:nvPr/>
          </p:nvSpPr>
          <p:spPr>
            <a:xfrm>
              <a:off x="8996705" y="5810907"/>
              <a:ext cx="946656" cy="410988"/>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Web App for Containers</a:t>
              </a:r>
              <a:endParaRPr kumimoji="0" lang="es-E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17" name="Picture 16">
              <a:extLst>
                <a:ext uri="{FF2B5EF4-FFF2-40B4-BE49-F238E27FC236}">
                  <a16:creationId xmlns:a16="http://schemas.microsoft.com/office/drawing/2014/main" id="{AA0BFDB6-F9DF-40D7-8D8F-FE3176B52B66}"/>
                </a:ext>
              </a:extLst>
            </p:cNvPr>
            <p:cNvPicPr>
              <a:picLocks noChangeAspect="1"/>
            </p:cNvPicPr>
            <p:nvPr/>
          </p:nvPicPr>
          <p:blipFill>
            <a:blip r:embed="rId3"/>
            <a:stretch>
              <a:fillRect/>
            </a:stretch>
          </p:blipFill>
          <p:spPr>
            <a:xfrm>
              <a:off x="9079888" y="4776264"/>
              <a:ext cx="780290" cy="780290"/>
            </a:xfrm>
            <a:prstGeom prst="rect">
              <a:avLst/>
            </a:prstGeom>
          </p:spPr>
        </p:pic>
      </p:grpSp>
      <p:grpSp>
        <p:nvGrpSpPr>
          <p:cNvPr id="18" name="Group 17">
            <a:extLst>
              <a:ext uri="{FF2B5EF4-FFF2-40B4-BE49-F238E27FC236}">
                <a16:creationId xmlns:a16="http://schemas.microsoft.com/office/drawing/2014/main" id="{01FA75B0-3D28-4E03-927B-D82848BE3818}"/>
              </a:ext>
            </a:extLst>
          </p:cNvPr>
          <p:cNvGrpSpPr/>
          <p:nvPr/>
        </p:nvGrpSpPr>
        <p:grpSpPr>
          <a:xfrm>
            <a:off x="176645" y="2037347"/>
            <a:ext cx="3205571" cy="3524005"/>
            <a:chOff x="8945868" y="1851653"/>
            <a:chExt cx="1582022" cy="1739177"/>
          </a:xfrm>
        </p:grpSpPr>
        <p:sp>
          <p:nvSpPr>
            <p:cNvPr id="19" name="Text Placeholder 13">
              <a:extLst>
                <a:ext uri="{FF2B5EF4-FFF2-40B4-BE49-F238E27FC236}">
                  <a16:creationId xmlns:a16="http://schemas.microsoft.com/office/drawing/2014/main" id="{2959F78A-6AAF-484B-820C-4CAE84914C15}"/>
                </a:ext>
              </a:extLst>
            </p:cNvPr>
            <p:cNvSpPr txBox="1">
              <a:spLocks/>
            </p:cNvSpPr>
            <p:nvPr/>
          </p:nvSpPr>
          <p:spPr>
            <a:xfrm>
              <a:off x="8945868" y="2661665"/>
              <a:ext cx="1582022" cy="929165"/>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Virtual Machine / VM Scale Set / Azure Batch</a:t>
              </a:r>
            </a:p>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Deploy your own docker and orchestrator of choice)</a:t>
              </a:r>
              <a:endParaRPr kumimoji="0" lang="es-E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20" name="Picture 19">
              <a:extLst>
                <a:ext uri="{FF2B5EF4-FFF2-40B4-BE49-F238E27FC236}">
                  <a16:creationId xmlns:a16="http://schemas.microsoft.com/office/drawing/2014/main" id="{A9EC1DCB-FEDE-493A-A878-FA90CF83273C}"/>
                </a:ext>
              </a:extLst>
            </p:cNvPr>
            <p:cNvPicPr>
              <a:picLocks noChangeAspect="1"/>
            </p:cNvPicPr>
            <p:nvPr/>
          </p:nvPicPr>
          <p:blipFill>
            <a:blip r:embed="rId4"/>
            <a:stretch>
              <a:fillRect/>
            </a:stretch>
          </p:blipFill>
          <p:spPr>
            <a:xfrm>
              <a:off x="9079999" y="1855917"/>
              <a:ext cx="780179" cy="780179"/>
            </a:xfrm>
            <a:prstGeom prst="rect">
              <a:avLst/>
            </a:prstGeom>
          </p:spPr>
        </p:pic>
        <p:pic>
          <p:nvPicPr>
            <p:cNvPr id="21" name="Picture 20">
              <a:extLst>
                <a:ext uri="{FF2B5EF4-FFF2-40B4-BE49-F238E27FC236}">
                  <a16:creationId xmlns:a16="http://schemas.microsoft.com/office/drawing/2014/main" id="{F50D1176-7117-4980-87B1-9A8F4DB39768}"/>
                </a:ext>
              </a:extLst>
            </p:cNvPr>
            <p:cNvPicPr>
              <a:picLocks noChangeAspect="1"/>
            </p:cNvPicPr>
            <p:nvPr/>
          </p:nvPicPr>
          <p:blipFill>
            <a:blip r:embed="rId5"/>
            <a:stretch>
              <a:fillRect/>
            </a:stretch>
          </p:blipFill>
          <p:spPr>
            <a:xfrm>
              <a:off x="9948260" y="1851653"/>
              <a:ext cx="365760" cy="365760"/>
            </a:xfrm>
            <a:prstGeom prst="rect">
              <a:avLst/>
            </a:prstGeom>
          </p:spPr>
        </p:pic>
        <p:pic>
          <p:nvPicPr>
            <p:cNvPr id="22" name="Picture 21">
              <a:extLst>
                <a:ext uri="{FF2B5EF4-FFF2-40B4-BE49-F238E27FC236}">
                  <a16:creationId xmlns:a16="http://schemas.microsoft.com/office/drawing/2014/main" id="{E118EF3B-0AC0-404F-A808-1CD9701A492D}"/>
                </a:ext>
              </a:extLst>
            </p:cNvPr>
            <p:cNvPicPr>
              <a:picLocks noChangeAspect="1"/>
            </p:cNvPicPr>
            <p:nvPr/>
          </p:nvPicPr>
          <p:blipFill>
            <a:blip r:embed="rId6"/>
            <a:stretch>
              <a:fillRect/>
            </a:stretch>
          </p:blipFill>
          <p:spPr>
            <a:xfrm>
              <a:off x="9948260" y="2246006"/>
              <a:ext cx="365760" cy="365760"/>
            </a:xfrm>
            <a:prstGeom prst="rect">
              <a:avLst/>
            </a:prstGeom>
          </p:spPr>
        </p:pic>
      </p:grpSp>
      <p:grpSp>
        <p:nvGrpSpPr>
          <p:cNvPr id="23" name="Group 22">
            <a:extLst>
              <a:ext uri="{FF2B5EF4-FFF2-40B4-BE49-F238E27FC236}">
                <a16:creationId xmlns:a16="http://schemas.microsoft.com/office/drawing/2014/main" id="{0EB705C4-1E2C-4F91-94A3-8980DBFD02DA}"/>
              </a:ext>
            </a:extLst>
          </p:cNvPr>
          <p:cNvGrpSpPr/>
          <p:nvPr/>
        </p:nvGrpSpPr>
        <p:grpSpPr>
          <a:xfrm>
            <a:off x="3609810" y="2101666"/>
            <a:ext cx="2444271" cy="3392039"/>
            <a:chOff x="8875027" y="3304546"/>
            <a:chExt cx="1206304" cy="1674049"/>
          </a:xfrm>
        </p:grpSpPr>
        <p:sp>
          <p:nvSpPr>
            <p:cNvPr id="24" name="Text Placeholder 13">
              <a:extLst>
                <a:ext uri="{FF2B5EF4-FFF2-40B4-BE49-F238E27FC236}">
                  <a16:creationId xmlns:a16="http://schemas.microsoft.com/office/drawing/2014/main" id="{580DDA4A-FCEC-4A30-97DA-032BCE37019C}"/>
                </a:ext>
              </a:extLst>
            </p:cNvPr>
            <p:cNvSpPr txBox="1">
              <a:spLocks/>
            </p:cNvSpPr>
            <p:nvPr/>
          </p:nvSpPr>
          <p:spPr>
            <a:xfrm>
              <a:off x="8875027" y="4049430"/>
              <a:ext cx="1206304" cy="929165"/>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zure Container Service</a:t>
              </a:r>
            </a:p>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Docker Swarm, DC/OS, Kubernetes)</a:t>
              </a:r>
              <a:endParaRPr kumimoji="0" lang="es-E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25" name="Picture 24">
              <a:extLst>
                <a:ext uri="{FF2B5EF4-FFF2-40B4-BE49-F238E27FC236}">
                  <a16:creationId xmlns:a16="http://schemas.microsoft.com/office/drawing/2014/main" id="{349F2B0F-D218-4326-B5BC-A7D1541F50F2}"/>
                </a:ext>
              </a:extLst>
            </p:cNvPr>
            <p:cNvPicPr>
              <a:picLocks noChangeAspect="1"/>
            </p:cNvPicPr>
            <p:nvPr/>
          </p:nvPicPr>
          <p:blipFill>
            <a:blip r:embed="rId7"/>
            <a:stretch>
              <a:fillRect/>
            </a:stretch>
          </p:blipFill>
          <p:spPr>
            <a:xfrm>
              <a:off x="9093284" y="3304546"/>
              <a:ext cx="780290" cy="780290"/>
            </a:xfrm>
            <a:prstGeom prst="rect">
              <a:avLst/>
            </a:prstGeom>
          </p:spPr>
        </p:pic>
      </p:grpSp>
      <p:grpSp>
        <p:nvGrpSpPr>
          <p:cNvPr id="14" name="Group 13">
            <a:extLst>
              <a:ext uri="{FF2B5EF4-FFF2-40B4-BE49-F238E27FC236}">
                <a16:creationId xmlns:a16="http://schemas.microsoft.com/office/drawing/2014/main" id="{2530087E-D2DE-4750-83D0-B8A61DFBAFA5}"/>
              </a:ext>
            </a:extLst>
          </p:cNvPr>
          <p:cNvGrpSpPr/>
          <p:nvPr/>
        </p:nvGrpSpPr>
        <p:grpSpPr>
          <a:xfrm>
            <a:off x="6134403" y="2101668"/>
            <a:ext cx="2444271" cy="3285449"/>
            <a:chOff x="8895715" y="3304546"/>
            <a:chExt cx="1206304" cy="1621444"/>
          </a:xfrm>
        </p:grpSpPr>
        <p:sp>
          <p:nvSpPr>
            <p:cNvPr id="26" name="Text Placeholder 13">
              <a:extLst>
                <a:ext uri="{FF2B5EF4-FFF2-40B4-BE49-F238E27FC236}">
                  <a16:creationId xmlns:a16="http://schemas.microsoft.com/office/drawing/2014/main" id="{93AACE82-C771-4D94-BCEE-C7EF3CE4AAFE}"/>
                </a:ext>
              </a:extLst>
            </p:cNvPr>
            <p:cNvSpPr txBox="1">
              <a:spLocks/>
            </p:cNvSpPr>
            <p:nvPr/>
          </p:nvSpPr>
          <p:spPr>
            <a:xfrm>
              <a:off x="8895715" y="4318462"/>
              <a:ext cx="1206304" cy="607528"/>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zure Container Service – AKS</a:t>
              </a:r>
            </a:p>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Preview)</a:t>
              </a:r>
              <a:endParaRPr kumimoji="0" lang="es-ES" sz="2353"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27" name="Picture 26">
              <a:extLst>
                <a:ext uri="{FF2B5EF4-FFF2-40B4-BE49-F238E27FC236}">
                  <a16:creationId xmlns:a16="http://schemas.microsoft.com/office/drawing/2014/main" id="{F078BEBE-F3A9-474D-BA4B-7CC92E563B24}"/>
                </a:ext>
              </a:extLst>
            </p:cNvPr>
            <p:cNvPicPr>
              <a:picLocks noChangeAspect="1"/>
            </p:cNvPicPr>
            <p:nvPr/>
          </p:nvPicPr>
          <p:blipFill>
            <a:blip r:embed="rId7"/>
            <a:stretch>
              <a:fillRect/>
            </a:stretch>
          </p:blipFill>
          <p:spPr>
            <a:xfrm>
              <a:off x="9093284" y="3304546"/>
              <a:ext cx="780290" cy="780290"/>
            </a:xfrm>
            <a:prstGeom prst="rect">
              <a:avLst/>
            </a:prstGeom>
            <a:solidFill>
              <a:schemeClr val="accent2">
                <a:lumMod val="75000"/>
              </a:schemeClr>
            </a:solidFill>
          </p:spPr>
        </p:pic>
      </p:grpSp>
      <p:sp>
        <p:nvSpPr>
          <p:cNvPr id="28" name="Text Placeholder 13">
            <a:extLst>
              <a:ext uri="{FF2B5EF4-FFF2-40B4-BE49-F238E27FC236}">
                <a16:creationId xmlns:a16="http://schemas.microsoft.com/office/drawing/2014/main" id="{BCA39A21-A86C-4EF6-B86B-7D44CBEC4321}"/>
              </a:ext>
            </a:extLst>
          </p:cNvPr>
          <p:cNvSpPr txBox="1">
            <a:spLocks/>
          </p:cNvSpPr>
          <p:nvPr/>
        </p:nvSpPr>
        <p:spPr>
          <a:xfrm>
            <a:off x="360601" y="5841962"/>
            <a:ext cx="2500434" cy="8458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IaaS</a:t>
            </a:r>
            <a:endParaRPr kumimoji="0" lang="es-E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sp>
        <p:nvSpPr>
          <p:cNvPr id="29" name="Text Placeholder 13">
            <a:extLst>
              <a:ext uri="{FF2B5EF4-FFF2-40B4-BE49-F238E27FC236}">
                <a16:creationId xmlns:a16="http://schemas.microsoft.com/office/drawing/2014/main" id="{BC1A36EC-ABA6-4ABB-8A4A-999CD14E34EA}"/>
              </a:ext>
            </a:extLst>
          </p:cNvPr>
          <p:cNvSpPr txBox="1">
            <a:spLocks/>
          </p:cNvSpPr>
          <p:nvPr/>
        </p:nvSpPr>
        <p:spPr>
          <a:xfrm>
            <a:off x="3643497" y="5719425"/>
            <a:ext cx="2500434" cy="8458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PaaS</a:t>
            </a:r>
            <a:endParaRPr kumimoji="0" lang="es-E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sp>
        <p:nvSpPr>
          <p:cNvPr id="30" name="Text Placeholder 13">
            <a:extLst>
              <a:ext uri="{FF2B5EF4-FFF2-40B4-BE49-F238E27FC236}">
                <a16:creationId xmlns:a16="http://schemas.microsoft.com/office/drawing/2014/main" id="{0788FFD6-A698-4A7D-AA19-454A23AB0649}"/>
              </a:ext>
            </a:extLst>
          </p:cNvPr>
          <p:cNvSpPr txBox="1">
            <a:spLocks/>
          </p:cNvSpPr>
          <p:nvPr/>
        </p:nvSpPr>
        <p:spPr>
          <a:xfrm>
            <a:off x="9024917" y="5610097"/>
            <a:ext cx="2500434" cy="8458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PaaS</a:t>
            </a:r>
            <a:endParaRPr kumimoji="0" lang="es-E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sp>
        <p:nvSpPr>
          <p:cNvPr id="31" name="Text Placeholder 13">
            <a:extLst>
              <a:ext uri="{FF2B5EF4-FFF2-40B4-BE49-F238E27FC236}">
                <a16:creationId xmlns:a16="http://schemas.microsoft.com/office/drawing/2014/main" id="{A088B83D-DA2A-4F0B-9E9E-DD5CDA9DDBC3}"/>
              </a:ext>
            </a:extLst>
          </p:cNvPr>
          <p:cNvSpPr txBox="1">
            <a:spLocks/>
          </p:cNvSpPr>
          <p:nvPr/>
        </p:nvSpPr>
        <p:spPr>
          <a:xfrm>
            <a:off x="6300436" y="5719425"/>
            <a:ext cx="2500434" cy="8458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PaaS</a:t>
            </a:r>
            <a:endParaRPr kumimoji="0" lang="es-ES" sz="4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sp>
        <p:nvSpPr>
          <p:cNvPr id="32" name="Text Placeholder 13">
            <a:extLst>
              <a:ext uri="{FF2B5EF4-FFF2-40B4-BE49-F238E27FC236}">
                <a16:creationId xmlns:a16="http://schemas.microsoft.com/office/drawing/2014/main" id="{E0863B16-501F-4D8E-9D33-ACBCC295FEC9}"/>
              </a:ext>
            </a:extLst>
          </p:cNvPr>
          <p:cNvSpPr txBox="1">
            <a:spLocks/>
          </p:cNvSpPr>
          <p:nvPr/>
        </p:nvSpPr>
        <p:spPr>
          <a:xfrm>
            <a:off x="6096000" y="1384383"/>
            <a:ext cx="2500434" cy="735033"/>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Managed Kubernetes</a:t>
            </a:r>
            <a:endParaRPr kumimoji="0" lang="es-ES" sz="20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70514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ker</a:t>
            </a:r>
          </a:p>
        </p:txBody>
      </p:sp>
      <p:sp>
        <p:nvSpPr>
          <p:cNvPr id="3" name="Content Placeholder 2"/>
          <p:cNvSpPr>
            <a:spLocks noGrp="1"/>
          </p:cNvSpPr>
          <p:nvPr>
            <p:ph idx="1"/>
          </p:nvPr>
        </p:nvSpPr>
        <p:spPr>
          <a:xfrm>
            <a:off x="519248" y="1447800"/>
            <a:ext cx="5924297" cy="4135491"/>
          </a:xfrm>
        </p:spPr>
        <p:txBody>
          <a:bodyPr/>
          <a:lstStyle/>
          <a:p>
            <a:r>
              <a:rPr lang="en-US" dirty="0"/>
              <a:t>Leading open-source containerization platform</a:t>
            </a:r>
          </a:p>
          <a:p>
            <a:endParaRPr lang="en-US" dirty="0"/>
          </a:p>
          <a:p>
            <a:endParaRPr lang="en-US" dirty="0"/>
          </a:p>
          <a:p>
            <a:endParaRPr lang="en-US" dirty="0"/>
          </a:p>
          <a:p>
            <a:endParaRPr lang="en-US" dirty="0"/>
          </a:p>
          <a:p>
            <a:endParaRPr lang="en-US" dirty="0"/>
          </a:p>
          <a:p>
            <a:r>
              <a:rPr lang="en-US" dirty="0"/>
              <a:t>Supported natively in Azure</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43545" y="1243794"/>
            <a:ext cx="5616564" cy="4676691"/>
          </a:xfrm>
          <a:prstGeom prst="rect">
            <a:avLst/>
          </a:prstGeom>
        </p:spPr>
      </p:pic>
      <p:sp>
        <p:nvSpPr>
          <p:cNvPr id="5" name="TextBox 4"/>
          <p:cNvSpPr txBox="1"/>
          <p:nvPr/>
        </p:nvSpPr>
        <p:spPr>
          <a:xfrm>
            <a:off x="925551" y="2428068"/>
            <a:ext cx="4650059"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AEEF"/>
                </a:solidFill>
                <a:effectLst/>
                <a:uLnTx/>
                <a:uFillTx/>
                <a:latin typeface="Segoe UI"/>
                <a:ea typeface="+mn-ea"/>
                <a:cs typeface="+mn-cs"/>
              </a:rPr>
              <a:t>Docker containers wrap up a piece of software in a complete filesystem that contains everything it needs to run: code, runtime, system tools, system libraries – anything you can install on a server. This guarantees that it will always run the same, regardless of the environment it is running in</a:t>
            </a:r>
          </a:p>
        </p:txBody>
      </p:sp>
    </p:spTree>
    <p:extLst>
      <p:ext uri="{BB962C8B-B14F-4D97-AF65-F5344CB8AC3E}">
        <p14:creationId xmlns:p14="http://schemas.microsoft.com/office/powerpoint/2010/main" val="37006379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68047" y="2942386"/>
            <a:ext cx="5527953" cy="1563693"/>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Freeform 8"/>
          <p:cNvSpPr/>
          <p:nvPr/>
        </p:nvSpPr>
        <p:spPr>
          <a:xfrm>
            <a:off x="6096001" y="1400413"/>
            <a:ext cx="2606154" cy="1563692"/>
          </a:xfrm>
          <a:custGeom>
            <a:avLst/>
            <a:gdLst>
              <a:gd name="connsiteX0" fmla="*/ 0 w 2658790"/>
              <a:gd name="connsiteY0" fmla="*/ 0 h 1595274"/>
              <a:gd name="connsiteX1" fmla="*/ 2658790 w 2658790"/>
              <a:gd name="connsiteY1" fmla="*/ 0 h 1595274"/>
              <a:gd name="connsiteX2" fmla="*/ 2658790 w 2658790"/>
              <a:gd name="connsiteY2" fmla="*/ 1595274 h 1595274"/>
              <a:gd name="connsiteX3" fmla="*/ 0 w 2658790"/>
              <a:gd name="connsiteY3" fmla="*/ 1595274 h 1595274"/>
              <a:gd name="connsiteX4" fmla="*/ 0 w 2658790"/>
              <a:gd name="connsiteY4" fmla="*/ 0 h 159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90" h="1595274">
                <a:moveTo>
                  <a:pt x="0" y="0"/>
                </a:moveTo>
                <a:lnTo>
                  <a:pt x="2658790" y="0"/>
                </a:lnTo>
                <a:lnTo>
                  <a:pt x="2658790" y="1595274"/>
                </a:lnTo>
                <a:lnTo>
                  <a:pt x="0" y="1595274"/>
                </a:lnTo>
                <a:lnTo>
                  <a:pt x="0" y="0"/>
                </a:lnTo>
                <a:close/>
              </a:path>
            </a:pathLst>
          </a:custGeom>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9506" tIns="119506" rIns="119506" bIns="119506" numCol="1" spcCol="1270" anchor="ctr" anchorCtr="0">
            <a:noAutofit/>
          </a:bodyPr>
          <a:lstStyle/>
          <a:p>
            <a:pPr marL="0" marR="0" lvl="0" indent="0" algn="ctr" defTabSz="1394111" rtl="0" eaLnBrk="1" fontAlgn="auto" latinLnBrk="0" hangingPunct="1">
              <a:lnSpc>
                <a:spcPct val="90000"/>
              </a:lnSpc>
              <a:spcBef>
                <a:spcPct val="0"/>
              </a:spcBef>
              <a:spcAft>
                <a:spcPct val="35000"/>
              </a:spcAft>
              <a:buClrTx/>
              <a:buSzTx/>
              <a:buFontTx/>
              <a:buNone/>
              <a:tabLst/>
              <a:defRPr/>
            </a:pPr>
            <a:r>
              <a:rPr kumimoji="0" lang="en-US" sz="3136" b="0" i="0" u="none" strike="noStrike" kern="0" cap="none" spc="0" normalizeH="0" baseline="0" noProof="0" dirty="0">
                <a:ln>
                  <a:noFill/>
                </a:ln>
                <a:solidFill>
                  <a:sysClr val="windowText" lastClr="000000"/>
                </a:solidFill>
                <a:effectLst/>
                <a:uLnTx/>
                <a:uFillTx/>
                <a:latin typeface="Calibri" panose="020F0502020204030204"/>
                <a:ea typeface="+mn-ea"/>
                <a:cs typeface="+mn-cs"/>
              </a:rPr>
              <a:t>Application</a:t>
            </a:r>
          </a:p>
        </p:txBody>
      </p:sp>
      <p:sp>
        <p:nvSpPr>
          <p:cNvPr id="11" name="Freeform 10"/>
          <p:cNvSpPr/>
          <p:nvPr/>
        </p:nvSpPr>
        <p:spPr>
          <a:xfrm>
            <a:off x="6096001" y="4506079"/>
            <a:ext cx="2606154" cy="1563692"/>
          </a:xfrm>
          <a:custGeom>
            <a:avLst/>
            <a:gdLst>
              <a:gd name="connsiteX0" fmla="*/ 0 w 2658790"/>
              <a:gd name="connsiteY0" fmla="*/ 0 h 1595274"/>
              <a:gd name="connsiteX1" fmla="*/ 2658790 w 2658790"/>
              <a:gd name="connsiteY1" fmla="*/ 0 h 1595274"/>
              <a:gd name="connsiteX2" fmla="*/ 2658790 w 2658790"/>
              <a:gd name="connsiteY2" fmla="*/ 1595274 h 1595274"/>
              <a:gd name="connsiteX3" fmla="*/ 0 w 2658790"/>
              <a:gd name="connsiteY3" fmla="*/ 1595274 h 1595274"/>
              <a:gd name="connsiteX4" fmla="*/ 0 w 2658790"/>
              <a:gd name="connsiteY4" fmla="*/ 0 h 159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90" h="1595274">
                <a:moveTo>
                  <a:pt x="0" y="0"/>
                </a:moveTo>
                <a:lnTo>
                  <a:pt x="2658790" y="0"/>
                </a:lnTo>
                <a:lnTo>
                  <a:pt x="2658790" y="1595274"/>
                </a:lnTo>
                <a:lnTo>
                  <a:pt x="0" y="1595274"/>
                </a:lnTo>
                <a:lnTo>
                  <a:pt x="0" y="0"/>
                </a:lnTo>
                <a:close/>
              </a:path>
            </a:pathLst>
          </a:custGeom>
          <a:ln>
            <a:noFill/>
          </a:ln>
        </p:spPr>
        <p:style>
          <a:lnRef idx="2">
            <a:schemeClr val="lt1">
              <a:hueOff val="0"/>
              <a:satOff val="0"/>
              <a:lumOff val="0"/>
              <a:alphaOff val="0"/>
            </a:schemeClr>
          </a:lnRef>
          <a:fillRef idx="1">
            <a:schemeClr val="accent4">
              <a:hueOff val="13480206"/>
              <a:satOff val="-47367"/>
              <a:lumOff val="-12745"/>
              <a:alphaOff val="0"/>
            </a:schemeClr>
          </a:fillRef>
          <a:effectRef idx="0">
            <a:schemeClr val="accent4">
              <a:hueOff val="13480206"/>
              <a:satOff val="-47367"/>
              <a:lumOff val="-12745"/>
              <a:alphaOff val="0"/>
            </a:schemeClr>
          </a:effectRef>
          <a:fontRef idx="minor">
            <a:schemeClr val="lt1"/>
          </a:fontRef>
        </p:style>
        <p:txBody>
          <a:bodyPr spcFirstLastPara="0" vert="horz" wrap="square" lIns="119506" tIns="119506" rIns="119506" bIns="119506" numCol="1" spcCol="1270" anchor="ctr" anchorCtr="0">
            <a:noAutofit/>
          </a:bodyPr>
          <a:lstStyle/>
          <a:p>
            <a:pPr marL="0" marR="0" lvl="0" indent="0" algn="ctr" defTabSz="1394111" rtl="0" eaLnBrk="1" fontAlgn="auto" latinLnBrk="0" hangingPunct="1">
              <a:lnSpc>
                <a:spcPct val="90000"/>
              </a:lnSpc>
              <a:spcBef>
                <a:spcPct val="0"/>
              </a:spcBef>
              <a:spcAft>
                <a:spcPct val="35000"/>
              </a:spcAft>
              <a:buClrTx/>
              <a:buSzTx/>
              <a:buFontTx/>
              <a:buNone/>
              <a:tabLst/>
              <a:defRPr/>
            </a:pPr>
            <a:r>
              <a:rPr kumimoji="0" lang="en-US" sz="3136" b="0" i="0" u="none" strike="noStrike" kern="0" cap="none" spc="0" normalizeH="0" baseline="0" noProof="0" dirty="0">
                <a:ln>
                  <a:noFill/>
                </a:ln>
                <a:solidFill>
                  <a:sysClr val="windowText" lastClr="000000"/>
                </a:solidFill>
                <a:effectLst/>
                <a:uLnTx/>
                <a:uFillTx/>
                <a:latin typeface="Calibri" panose="020F0502020204030204"/>
                <a:ea typeface="+mn-ea"/>
                <a:cs typeface="+mn-cs"/>
              </a:rPr>
              <a:t>Infrastructure</a:t>
            </a:r>
          </a:p>
        </p:txBody>
      </p:sp>
      <p:sp>
        <p:nvSpPr>
          <p:cNvPr id="8" name="Title 1"/>
          <p:cNvSpPr>
            <a:spLocks noGrp="1"/>
          </p:cNvSpPr>
          <p:nvPr>
            <p:ph type="title"/>
          </p:nvPr>
        </p:nvSpPr>
        <p:spPr/>
        <p:txBody>
          <a:bodyPr>
            <a:normAutofit/>
          </a:bodyPr>
          <a:lstStyle/>
          <a:p>
            <a:r>
              <a:rPr lang="en-US" sz="7056" dirty="0"/>
              <a:t>Azure Container Service</a:t>
            </a:r>
          </a:p>
        </p:txBody>
      </p:sp>
      <p:sp>
        <p:nvSpPr>
          <p:cNvPr id="4" name="Right Brace 3"/>
          <p:cNvSpPr/>
          <p:nvPr/>
        </p:nvSpPr>
        <p:spPr>
          <a:xfrm>
            <a:off x="8872758" y="2942386"/>
            <a:ext cx="896288" cy="312738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Vertical Scroll 5"/>
          <p:cNvSpPr/>
          <p:nvPr/>
        </p:nvSpPr>
        <p:spPr bwMode="auto">
          <a:xfrm>
            <a:off x="9589882" y="3051413"/>
            <a:ext cx="2332777" cy="2868121"/>
          </a:xfrm>
          <a:prstGeom prst="verticalScroll">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ARM </a:t>
            </a:r>
          </a:p>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Resource Provider</a:t>
            </a:r>
          </a:p>
        </p:txBody>
      </p:sp>
      <p:pic>
        <p:nvPicPr>
          <p:cNvPr id="7" name="Picture 6"/>
          <p:cNvPicPr>
            <a:picLocks noChangeAspect="1"/>
          </p:cNvPicPr>
          <p:nvPr/>
        </p:nvPicPr>
        <p:blipFill>
          <a:blip r:embed="rId3"/>
          <a:stretch>
            <a:fillRect/>
          </a:stretch>
        </p:blipFill>
        <p:spPr>
          <a:xfrm>
            <a:off x="3909797" y="3051412"/>
            <a:ext cx="1901430" cy="382106"/>
          </a:xfrm>
          <a:prstGeom prst="rect">
            <a:avLst/>
          </a:prstGeom>
        </p:spPr>
      </p:pic>
      <p:grpSp>
        <p:nvGrpSpPr>
          <p:cNvPr id="16" name="Group 15"/>
          <p:cNvGrpSpPr/>
          <p:nvPr/>
        </p:nvGrpSpPr>
        <p:grpSpPr>
          <a:xfrm>
            <a:off x="1173640" y="2942387"/>
            <a:ext cx="7528514" cy="1675180"/>
            <a:chOff x="1172942" y="2942317"/>
            <a:chExt cx="7529582" cy="1675418"/>
          </a:xfrm>
        </p:grpSpPr>
        <p:sp>
          <p:nvSpPr>
            <p:cNvPr id="10" name="Freeform 9"/>
            <p:cNvSpPr/>
            <p:nvPr/>
          </p:nvSpPr>
          <p:spPr>
            <a:xfrm>
              <a:off x="6096000" y="2942317"/>
              <a:ext cx="2606524" cy="1563914"/>
            </a:xfrm>
            <a:custGeom>
              <a:avLst/>
              <a:gdLst>
                <a:gd name="connsiteX0" fmla="*/ 0 w 2658790"/>
                <a:gd name="connsiteY0" fmla="*/ 0 h 1595274"/>
                <a:gd name="connsiteX1" fmla="*/ 2658790 w 2658790"/>
                <a:gd name="connsiteY1" fmla="*/ 0 h 1595274"/>
                <a:gd name="connsiteX2" fmla="*/ 2658790 w 2658790"/>
                <a:gd name="connsiteY2" fmla="*/ 1595274 h 1595274"/>
                <a:gd name="connsiteX3" fmla="*/ 0 w 2658790"/>
                <a:gd name="connsiteY3" fmla="*/ 1595274 h 1595274"/>
                <a:gd name="connsiteX4" fmla="*/ 0 w 2658790"/>
                <a:gd name="connsiteY4" fmla="*/ 0 h 159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790" h="1595274">
                  <a:moveTo>
                    <a:pt x="0" y="0"/>
                  </a:moveTo>
                  <a:lnTo>
                    <a:pt x="2658790" y="0"/>
                  </a:lnTo>
                  <a:lnTo>
                    <a:pt x="2658790" y="1595274"/>
                  </a:lnTo>
                  <a:lnTo>
                    <a:pt x="0" y="1595274"/>
                  </a:lnTo>
                  <a:lnTo>
                    <a:pt x="0" y="0"/>
                  </a:lnTo>
                  <a:close/>
                </a:path>
              </a:pathLst>
            </a:custGeom>
          </p:spPr>
          <p:style>
            <a:lnRef idx="2">
              <a:schemeClr val="lt1">
                <a:hueOff val="0"/>
                <a:satOff val="0"/>
                <a:lumOff val="0"/>
                <a:alphaOff val="0"/>
              </a:schemeClr>
            </a:lnRef>
            <a:fillRef idx="1">
              <a:schemeClr val="accent4">
                <a:hueOff val="6740103"/>
                <a:satOff val="-23684"/>
                <a:lumOff val="-6372"/>
                <a:alphaOff val="0"/>
              </a:schemeClr>
            </a:fillRef>
            <a:effectRef idx="0">
              <a:schemeClr val="accent4">
                <a:hueOff val="6740103"/>
                <a:satOff val="-23684"/>
                <a:lumOff val="-6372"/>
                <a:alphaOff val="0"/>
              </a:schemeClr>
            </a:effectRef>
            <a:fontRef idx="minor">
              <a:schemeClr val="lt1"/>
            </a:fontRef>
          </p:style>
          <p:txBody>
            <a:bodyPr spcFirstLastPara="0" vert="horz" wrap="square" lIns="119506" tIns="119506" rIns="119506" bIns="119506" numCol="1" spcCol="1270" anchor="ctr" anchorCtr="0">
              <a:noAutofit/>
            </a:bodyPr>
            <a:lstStyle/>
            <a:p>
              <a:pPr marL="0" marR="0" lvl="0" indent="0" algn="ctr" defTabSz="1394111" rtl="0" eaLnBrk="1" fontAlgn="auto" latinLnBrk="0" hangingPunct="1">
                <a:lnSpc>
                  <a:spcPct val="90000"/>
                </a:lnSpc>
                <a:spcBef>
                  <a:spcPct val="0"/>
                </a:spcBef>
                <a:spcAft>
                  <a:spcPct val="35000"/>
                </a:spcAft>
                <a:buClrTx/>
                <a:buSzTx/>
                <a:buFontTx/>
                <a:buNone/>
                <a:tabLst/>
                <a:defRPr/>
              </a:pPr>
              <a:r>
                <a:rPr kumimoji="0" lang="en-US" sz="3136" b="0" i="0" u="none" strike="noStrike" kern="0" cap="none" spc="0" normalizeH="0" baseline="0" noProof="0" dirty="0">
                  <a:ln>
                    <a:noFill/>
                  </a:ln>
                  <a:solidFill>
                    <a:sysClr val="windowText" lastClr="000000"/>
                  </a:solidFill>
                  <a:effectLst/>
                  <a:uLnTx/>
                  <a:uFillTx/>
                  <a:latin typeface="Calibri" panose="020F0502020204030204"/>
                  <a:ea typeface="+mn-ea"/>
                  <a:cs typeface="+mn-cs"/>
                </a:rPr>
                <a:t>Orchestrator</a:t>
              </a:r>
            </a:p>
          </p:txBody>
        </p:sp>
        <p:pic>
          <p:nvPicPr>
            <p:cNvPr id="2050" name="Picture 2" descr="https://mesosphere.com/wp-content/uploads/2016/04/logo-horizontal-styled.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2800" b="18501"/>
            <a:stretch/>
          </p:blipFill>
          <p:spPr bwMode="auto">
            <a:xfrm>
              <a:off x="4042954" y="3724274"/>
              <a:ext cx="1425574" cy="62758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2389831" y="3672639"/>
              <a:ext cx="1135032" cy="94509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72942" y="3701033"/>
              <a:ext cx="698799" cy="678030"/>
            </a:xfrm>
            <a:prstGeom prst="rect">
              <a:avLst/>
            </a:prstGeom>
          </p:spPr>
        </p:pic>
      </p:grpSp>
      <p:sp>
        <p:nvSpPr>
          <p:cNvPr id="29" name="Rectangle 28"/>
          <p:cNvSpPr/>
          <p:nvPr/>
        </p:nvSpPr>
        <p:spPr>
          <a:xfrm>
            <a:off x="5977235" y="3244360"/>
            <a:ext cx="237532" cy="37479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9" name="Picture 18"/>
          <p:cNvPicPr>
            <a:picLocks noChangeAspect="1"/>
          </p:cNvPicPr>
          <p:nvPr/>
        </p:nvPicPr>
        <p:blipFill>
          <a:blip r:embed="rId7"/>
          <a:stretch>
            <a:fillRect/>
          </a:stretch>
        </p:blipFill>
        <p:spPr>
          <a:xfrm>
            <a:off x="2261882" y="3004382"/>
            <a:ext cx="1363142" cy="476166"/>
          </a:xfrm>
          <a:prstGeom prst="rect">
            <a:avLst/>
          </a:prstGeom>
        </p:spPr>
      </p:pic>
    </p:spTree>
    <p:extLst>
      <p:ext uri="{BB962C8B-B14F-4D97-AF65-F5344CB8AC3E}">
        <p14:creationId xmlns:p14="http://schemas.microsoft.com/office/powerpoint/2010/main" val="181564064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26" presetClass="entr" presetSubtype="0"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ipe(down)">
                                      <p:cBhvr>
                                        <p:cTn id="24" dur="580">
                                          <p:stCondLst>
                                            <p:cond delay="0"/>
                                          </p:stCondLst>
                                        </p:cTn>
                                        <p:tgtEl>
                                          <p:spTgt spid="9"/>
                                        </p:tgtEl>
                                      </p:cBhvr>
                                    </p:animEffect>
                                    <p:anim calcmode="lin" valueType="num">
                                      <p:cBhvr>
                                        <p:cTn id="25"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30" dur="26">
                                          <p:stCondLst>
                                            <p:cond delay="650"/>
                                          </p:stCondLst>
                                        </p:cTn>
                                        <p:tgtEl>
                                          <p:spTgt spid="9"/>
                                        </p:tgtEl>
                                      </p:cBhvr>
                                      <p:to x="100000" y="60000"/>
                                    </p:animScale>
                                    <p:animScale>
                                      <p:cBhvr>
                                        <p:cTn id="31" dur="166" decel="50000">
                                          <p:stCondLst>
                                            <p:cond delay="676"/>
                                          </p:stCondLst>
                                        </p:cTn>
                                        <p:tgtEl>
                                          <p:spTgt spid="9"/>
                                        </p:tgtEl>
                                      </p:cBhvr>
                                      <p:to x="100000" y="100000"/>
                                    </p:animScale>
                                    <p:animScale>
                                      <p:cBhvr>
                                        <p:cTn id="32" dur="26">
                                          <p:stCondLst>
                                            <p:cond delay="1312"/>
                                          </p:stCondLst>
                                        </p:cTn>
                                        <p:tgtEl>
                                          <p:spTgt spid="9"/>
                                        </p:tgtEl>
                                      </p:cBhvr>
                                      <p:to x="100000" y="80000"/>
                                    </p:animScale>
                                    <p:animScale>
                                      <p:cBhvr>
                                        <p:cTn id="33" dur="166" decel="50000">
                                          <p:stCondLst>
                                            <p:cond delay="1338"/>
                                          </p:stCondLst>
                                        </p:cTn>
                                        <p:tgtEl>
                                          <p:spTgt spid="9"/>
                                        </p:tgtEl>
                                      </p:cBhvr>
                                      <p:to x="100000" y="100000"/>
                                    </p:animScale>
                                    <p:animScale>
                                      <p:cBhvr>
                                        <p:cTn id="34" dur="26">
                                          <p:stCondLst>
                                            <p:cond delay="1642"/>
                                          </p:stCondLst>
                                        </p:cTn>
                                        <p:tgtEl>
                                          <p:spTgt spid="9"/>
                                        </p:tgtEl>
                                      </p:cBhvr>
                                      <p:to x="100000" y="90000"/>
                                    </p:animScale>
                                    <p:animScale>
                                      <p:cBhvr>
                                        <p:cTn id="35" dur="166" decel="50000">
                                          <p:stCondLst>
                                            <p:cond delay="1668"/>
                                          </p:stCondLst>
                                        </p:cTn>
                                        <p:tgtEl>
                                          <p:spTgt spid="9"/>
                                        </p:tgtEl>
                                      </p:cBhvr>
                                      <p:to x="100000" y="100000"/>
                                    </p:animScale>
                                    <p:animScale>
                                      <p:cBhvr>
                                        <p:cTn id="36" dur="26">
                                          <p:stCondLst>
                                            <p:cond delay="1808"/>
                                          </p:stCondLst>
                                        </p:cTn>
                                        <p:tgtEl>
                                          <p:spTgt spid="9"/>
                                        </p:tgtEl>
                                      </p:cBhvr>
                                      <p:to x="100000" y="95000"/>
                                    </p:animScale>
                                    <p:animScale>
                                      <p:cBhvr>
                                        <p:cTn id="37" dur="166" decel="50000">
                                          <p:stCondLst>
                                            <p:cond delay="1834"/>
                                          </p:stCondLst>
                                        </p:cTn>
                                        <p:tgtEl>
                                          <p:spTgt spid="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 grpId="0" animBg="1"/>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125031" y="2050545"/>
            <a:ext cx="6707545" cy="4523502"/>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 name="Content Placeholder 2"/>
          <p:cNvSpPr txBox="1">
            <a:spLocks/>
          </p:cNvSpPr>
          <p:nvPr/>
        </p:nvSpPr>
        <p:spPr>
          <a:xfrm>
            <a:off x="212969" y="2000637"/>
            <a:ext cx="4979593" cy="2813383"/>
          </a:xfrm>
          <a:prstGeom prst="rect">
            <a:avLst/>
          </a:prstGeom>
          <a:noFill/>
        </p:spPr>
        <p:txBody>
          <a:bodyPr vert="horz" wrap="square" lIns="179259" tIns="143407" rIns="179259" bIns="14340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957" rtl="0" eaLnBrk="1" fontAlgn="auto" latinLnBrk="0" hangingPunct="1">
              <a:lnSpc>
                <a:spcPct val="100000"/>
              </a:lnSpc>
              <a:spcBef>
                <a:spcPts val="0"/>
              </a:spcBef>
              <a:spcAft>
                <a:spcPts val="1175"/>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ndard tooling and API support</a:t>
            </a:r>
          </a:p>
          <a:p>
            <a:pPr marL="0" marR="0" lvl="0" indent="0" algn="l" defTabSz="913957" rtl="0" eaLnBrk="1" fontAlgn="auto" latinLnBrk="0" hangingPunct="1">
              <a:lnSpc>
                <a:spcPct val="100000"/>
              </a:lnSpc>
              <a:spcBef>
                <a:spcPts val="0"/>
              </a:spcBef>
              <a:spcAft>
                <a:spcPts val="1175"/>
              </a:spcAft>
              <a:buClr>
                <a:srgbClr val="FFFFFF"/>
              </a:buClr>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3957" rtl="0" eaLnBrk="1" fontAlgn="auto" latinLnBrk="0" hangingPunct="1">
              <a:lnSpc>
                <a:spcPct val="100000"/>
              </a:lnSpc>
              <a:spcBef>
                <a:spcPts val="0"/>
              </a:spcBef>
              <a:spcAft>
                <a:spcPts val="1175"/>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eamlined provisioning of DC/OS Docker Swarm and Kubernetes</a:t>
            </a:r>
          </a:p>
        </p:txBody>
      </p:sp>
      <p:sp>
        <p:nvSpPr>
          <p:cNvPr id="6" name="AutoShape 3"/>
          <p:cNvSpPr>
            <a:spLocks noChangeAspect="1" noChangeArrowheads="1" noTextEdit="1"/>
          </p:cNvSpPr>
          <p:nvPr/>
        </p:nvSpPr>
        <p:spPr bwMode="auto">
          <a:xfrm>
            <a:off x="7962049" y="1812467"/>
            <a:ext cx="3964873" cy="3753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5"/>
          <p:cNvSpPr>
            <a:spLocks/>
          </p:cNvSpPr>
          <p:nvPr/>
        </p:nvSpPr>
        <p:spPr bwMode="auto">
          <a:xfrm>
            <a:off x="5125031" y="1495805"/>
            <a:ext cx="6707544" cy="2203657"/>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latin typeface="Calibri" panose="020F0502020204030204"/>
                <a:ea typeface="+mn-ea"/>
                <a:cs typeface="+mn-cs"/>
              </a:rPr>
              <a:t>              </a:t>
            </a:r>
            <a:r>
              <a:rPr kumimoji="0" lang="en-US" sz="4000" b="0" i="0" u="none" strike="noStrike" kern="0" cap="none" spc="0" normalizeH="0" baseline="0" noProof="0" dirty="0">
                <a:ln>
                  <a:noFill/>
                </a:ln>
                <a:solidFill>
                  <a:sysClr val="windowText" lastClr="000000"/>
                </a:solidFill>
                <a:effectLst/>
                <a:uLnTx/>
                <a:uFillTx/>
                <a:latin typeface="Calibri" panose="020F0502020204030204"/>
                <a:ea typeface="+mn-ea"/>
                <a:cs typeface="+mn-cs"/>
              </a:rPr>
              <a:t>Azure Container Service</a:t>
            </a:r>
          </a:p>
        </p:txBody>
      </p:sp>
      <p:sp>
        <p:nvSpPr>
          <p:cNvPr id="14" name="Freeform 11"/>
          <p:cNvSpPr>
            <a:spLocks/>
          </p:cNvSpPr>
          <p:nvPr/>
        </p:nvSpPr>
        <p:spPr bwMode="auto">
          <a:xfrm>
            <a:off x="8553999" y="3699462"/>
            <a:ext cx="163388" cy="619317"/>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2"/>
          <p:cNvSpPr>
            <a:spLocks/>
          </p:cNvSpPr>
          <p:nvPr/>
        </p:nvSpPr>
        <p:spPr bwMode="auto">
          <a:xfrm>
            <a:off x="8553999" y="4068251"/>
            <a:ext cx="158719" cy="250528"/>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3"/>
          <p:cNvSpPr>
            <a:spLocks/>
          </p:cNvSpPr>
          <p:nvPr/>
        </p:nvSpPr>
        <p:spPr bwMode="auto">
          <a:xfrm>
            <a:off x="8403060" y="3385135"/>
            <a:ext cx="469935" cy="3983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Oval 14"/>
          <p:cNvSpPr>
            <a:spLocks noChangeArrowheads="1"/>
          </p:cNvSpPr>
          <p:nvPr/>
        </p:nvSpPr>
        <p:spPr bwMode="auto">
          <a:xfrm>
            <a:off x="7902005" y="4237863"/>
            <a:ext cx="1459596" cy="145804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Oval 16"/>
          <p:cNvSpPr>
            <a:spLocks noChangeArrowheads="1"/>
          </p:cNvSpPr>
          <p:nvPr/>
        </p:nvSpPr>
        <p:spPr bwMode="auto">
          <a:xfrm>
            <a:off x="8557112" y="3470720"/>
            <a:ext cx="160276" cy="16027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9389612" y="4318778"/>
            <a:ext cx="208514" cy="1377125"/>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18"/>
          <p:cNvSpPr>
            <a:spLocks/>
          </p:cNvSpPr>
          <p:nvPr/>
        </p:nvSpPr>
        <p:spPr bwMode="auto">
          <a:xfrm>
            <a:off x="7660814" y="4318778"/>
            <a:ext cx="210071" cy="1377125"/>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8"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29780" y="4143014"/>
            <a:ext cx="2030054" cy="1690345"/>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10007482" y="5745150"/>
            <a:ext cx="1606302" cy="646111"/>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3528" b="0" i="0" u="none" strike="noStrike" kern="0" cap="none" spc="0" normalizeH="0" baseline="0" noProof="0" dirty="0">
                <a:ln>
                  <a:noFill/>
                </a:ln>
                <a:solidFill>
                  <a:srgbClr val="F1F1F1"/>
                </a:solidFill>
                <a:effectLst/>
                <a:uLnTx/>
                <a:uFillTx/>
                <a:latin typeface="Segoe UI Semibold" panose="020B0702040204020203" pitchFamily="34" charset="0"/>
                <a:ea typeface="+mn-ea"/>
                <a:cs typeface="Segoe UI Semibold" panose="020B0702040204020203" pitchFamily="34" charset="0"/>
              </a:rPr>
              <a:t>Swarm</a:t>
            </a:r>
            <a:endParaRPr kumimoji="0" lang="en-US" sz="3528" b="0" i="0" u="none" strike="noStrike" kern="0" cap="none" spc="0" normalizeH="0" baseline="0" noProof="0" dirty="0">
              <a:ln>
                <a:noFill/>
              </a:ln>
              <a:solidFill>
                <a:srgbClr val="F1F1F1"/>
              </a:solidFill>
              <a:effectLst/>
              <a:uLnTx/>
              <a:uFillTx/>
              <a:latin typeface="Calibri" panose="020F0502020204030204"/>
              <a:ea typeface="+mn-ea"/>
              <a:cs typeface="+mn-cs"/>
            </a:endParaRPr>
          </a:p>
        </p:txBody>
      </p:sp>
      <p:sp>
        <p:nvSpPr>
          <p:cNvPr id="28" name="Freeform 11"/>
          <p:cNvSpPr>
            <a:spLocks/>
          </p:cNvSpPr>
          <p:nvPr/>
        </p:nvSpPr>
        <p:spPr bwMode="auto">
          <a:xfrm>
            <a:off x="10666670" y="3699462"/>
            <a:ext cx="163388" cy="619317"/>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12"/>
          <p:cNvSpPr>
            <a:spLocks/>
          </p:cNvSpPr>
          <p:nvPr/>
        </p:nvSpPr>
        <p:spPr bwMode="auto">
          <a:xfrm>
            <a:off x="10666670" y="4068251"/>
            <a:ext cx="158719" cy="250528"/>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Freeform 13"/>
          <p:cNvSpPr>
            <a:spLocks/>
          </p:cNvSpPr>
          <p:nvPr/>
        </p:nvSpPr>
        <p:spPr bwMode="auto">
          <a:xfrm>
            <a:off x="10515731" y="3385135"/>
            <a:ext cx="469935" cy="3983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Oval 16"/>
          <p:cNvSpPr>
            <a:spLocks noChangeArrowheads="1"/>
          </p:cNvSpPr>
          <p:nvPr/>
        </p:nvSpPr>
        <p:spPr bwMode="auto">
          <a:xfrm>
            <a:off x="10669783" y="3470720"/>
            <a:ext cx="160276" cy="16027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17"/>
          <p:cNvSpPr>
            <a:spLocks/>
          </p:cNvSpPr>
          <p:nvPr/>
        </p:nvSpPr>
        <p:spPr bwMode="auto">
          <a:xfrm>
            <a:off x="11502282" y="4318778"/>
            <a:ext cx="208514" cy="1377125"/>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18"/>
          <p:cNvSpPr>
            <a:spLocks/>
          </p:cNvSpPr>
          <p:nvPr/>
        </p:nvSpPr>
        <p:spPr bwMode="auto">
          <a:xfrm>
            <a:off x="9773484" y="4318778"/>
            <a:ext cx="210071" cy="1377125"/>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29698"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172796" y="4453883"/>
            <a:ext cx="951451" cy="1106916"/>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p:nvSpPr>
        <p:spPr>
          <a:xfrm>
            <a:off x="7853305" y="5747369"/>
            <a:ext cx="1595082" cy="646111"/>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3528" b="0" i="0" u="none" strike="noStrike" kern="0" cap="none" spc="0" normalizeH="0" baseline="0" noProof="0" dirty="0">
                <a:ln>
                  <a:noFill/>
                </a:ln>
                <a:solidFill>
                  <a:srgbClr val="F1F1F1"/>
                </a:solidFill>
                <a:effectLst/>
                <a:uLnTx/>
                <a:uFillTx/>
                <a:latin typeface="Segoe UI Semibold" panose="020B0702040204020203" pitchFamily="34" charset="0"/>
                <a:ea typeface="+mn-ea"/>
                <a:cs typeface="Segoe UI Semibold" panose="020B0702040204020203" pitchFamily="34" charset="0"/>
              </a:rPr>
              <a:t>DC/OS</a:t>
            </a:r>
            <a:endParaRPr kumimoji="0" lang="en-US" sz="3528" b="0" i="0" u="none" strike="noStrike" kern="0" cap="none" spc="0" normalizeH="0" baseline="0" noProof="0" dirty="0">
              <a:ln>
                <a:noFill/>
              </a:ln>
              <a:solidFill>
                <a:srgbClr val="F1F1F1"/>
              </a:solidFill>
              <a:effectLst/>
              <a:uLnTx/>
              <a:uFillTx/>
              <a:latin typeface="Calibri" panose="020F0502020204030204"/>
              <a:ea typeface="+mn-ea"/>
              <a:cs typeface="+mn-cs"/>
            </a:endParaRPr>
          </a:p>
        </p:txBody>
      </p:sp>
      <p:sp>
        <p:nvSpPr>
          <p:cNvPr id="34" name="Title 1"/>
          <p:cNvSpPr txBox="1">
            <a:spLocks/>
          </p:cNvSpPr>
          <p:nvPr/>
        </p:nvSpPr>
        <p:spPr>
          <a:xfrm>
            <a:off x="499918" y="409090"/>
            <a:ext cx="10514108" cy="13253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896386"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Light" panose="020F0302020204030204"/>
                <a:ea typeface="+mj-ea"/>
                <a:cs typeface="+mj-cs"/>
              </a:rPr>
              <a:t>ACS: The best place to run your containers</a:t>
            </a:r>
          </a:p>
        </p:txBody>
      </p:sp>
      <p:sp>
        <p:nvSpPr>
          <p:cNvPr id="2" name="Rectangle 1"/>
          <p:cNvSpPr/>
          <p:nvPr/>
        </p:nvSpPr>
        <p:spPr>
          <a:xfrm>
            <a:off x="5977235" y="3244360"/>
            <a:ext cx="237532" cy="37479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3" name="Rectangle 2"/>
          <p:cNvSpPr/>
          <p:nvPr/>
        </p:nvSpPr>
        <p:spPr>
          <a:xfrm>
            <a:off x="5977235" y="3244360"/>
            <a:ext cx="237532" cy="37479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20" name="Rectangle 19"/>
          <p:cNvSpPr/>
          <p:nvPr/>
        </p:nvSpPr>
        <p:spPr>
          <a:xfrm>
            <a:off x="5977235" y="3244360"/>
            <a:ext cx="237532" cy="37479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21" name="Rectangle 20"/>
          <p:cNvSpPr/>
          <p:nvPr/>
        </p:nvSpPr>
        <p:spPr>
          <a:xfrm>
            <a:off x="5977235" y="3244360"/>
            <a:ext cx="237532" cy="37479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26" name="Rectangle 25"/>
          <p:cNvSpPr/>
          <p:nvPr/>
        </p:nvSpPr>
        <p:spPr>
          <a:xfrm>
            <a:off x="5977235" y="3244360"/>
            <a:ext cx="237532" cy="37479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27" name="Rectangle 26"/>
          <p:cNvSpPr/>
          <p:nvPr/>
        </p:nvSpPr>
        <p:spPr>
          <a:xfrm>
            <a:off x="5977235" y="3244360"/>
            <a:ext cx="237532" cy="37479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37" name="Freeform 11"/>
          <p:cNvSpPr>
            <a:spLocks/>
          </p:cNvSpPr>
          <p:nvPr/>
        </p:nvSpPr>
        <p:spPr bwMode="auto">
          <a:xfrm>
            <a:off x="6342300" y="3758592"/>
            <a:ext cx="163388" cy="619317"/>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13"/>
          <p:cNvSpPr>
            <a:spLocks/>
          </p:cNvSpPr>
          <p:nvPr/>
        </p:nvSpPr>
        <p:spPr bwMode="auto">
          <a:xfrm>
            <a:off x="6185843" y="3407028"/>
            <a:ext cx="469935" cy="3983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16"/>
          <p:cNvSpPr>
            <a:spLocks noChangeArrowheads="1"/>
          </p:cNvSpPr>
          <p:nvPr/>
        </p:nvSpPr>
        <p:spPr bwMode="auto">
          <a:xfrm>
            <a:off x="6342300" y="3504173"/>
            <a:ext cx="160276" cy="16027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18"/>
          <p:cNvSpPr>
            <a:spLocks/>
          </p:cNvSpPr>
          <p:nvPr/>
        </p:nvSpPr>
        <p:spPr bwMode="auto">
          <a:xfrm>
            <a:off x="5575572" y="4299623"/>
            <a:ext cx="210071" cy="1377125"/>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17"/>
          <p:cNvSpPr>
            <a:spLocks/>
          </p:cNvSpPr>
          <p:nvPr/>
        </p:nvSpPr>
        <p:spPr bwMode="auto">
          <a:xfrm>
            <a:off x="7109052" y="4331126"/>
            <a:ext cx="208514" cy="1377125"/>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43" name="Picture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70170" y="4281334"/>
            <a:ext cx="1346302" cy="1306289"/>
          </a:xfrm>
          <a:prstGeom prst="rect">
            <a:avLst/>
          </a:prstGeom>
        </p:spPr>
      </p:pic>
      <p:sp>
        <p:nvSpPr>
          <p:cNvPr id="44" name="Rectangle 43"/>
          <p:cNvSpPr/>
          <p:nvPr/>
        </p:nvSpPr>
        <p:spPr>
          <a:xfrm>
            <a:off x="5129068" y="5706662"/>
            <a:ext cx="2555146" cy="646111"/>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3528" b="0" i="0" u="none" strike="noStrike" kern="0" cap="none" spc="0" normalizeH="0" baseline="0" noProof="0" dirty="0">
                <a:ln>
                  <a:noFill/>
                </a:ln>
                <a:solidFill>
                  <a:srgbClr val="F1F1F1"/>
                </a:solidFill>
                <a:effectLst/>
                <a:uLnTx/>
                <a:uFillTx/>
                <a:latin typeface="Segoe UI Semibold" panose="020B0702040204020203" pitchFamily="34" charset="0"/>
                <a:ea typeface="+mn-ea"/>
                <a:cs typeface="Segoe UI Semibold" panose="020B0702040204020203" pitchFamily="34" charset="0"/>
              </a:rPr>
              <a:t>Kubernetes</a:t>
            </a:r>
            <a:endParaRPr kumimoji="0" lang="en-US" sz="3528" b="0" i="0" u="none" strike="noStrike" kern="0" cap="none" spc="0" normalizeH="0" baseline="0" noProof="0" dirty="0">
              <a:ln>
                <a:noFill/>
              </a:ln>
              <a:solidFill>
                <a:srgbClr val="F1F1F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186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35" presetClass="path" presetSubtype="0" decel="100000" fill="hold" grpId="1" nodeType="withEffect">
                                  <p:stCondLst>
                                    <p:cond delay="0"/>
                                  </p:stCondLst>
                                  <p:childTnLst>
                                    <p:animMotion origin="layout" path="M -4.58333E-6 7.40741E-7 L -0.05286 7.40741E-7 " pathEditMode="relative" rAng="0" ptsTypes="AA">
                                      <p:cBhvr>
                                        <p:cTn id="9" dur="750" spd="-100000" fill="hold"/>
                                        <p:tgtEl>
                                          <p:spTgt spid="4"/>
                                        </p:tgtEl>
                                        <p:attrNameLst>
                                          <p:attrName>ppt_x</p:attrName>
                                          <p:attrName>ppt_y</p:attrName>
                                        </p:attrNameLst>
                                      </p:cBhvr>
                                      <p:rCtr x="-264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41.png"/></Relationships>
</file>

<file path=ppt/theme/theme1.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1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thm15="http://schemas.microsoft.com/office/thememl/2012/main" name="Azure4ResearchTemplate" id="{DD1C6CE8-BDBA-0D4F-9930-3643ABC8EF0E}" vid="{B5C66FD7-0952-994B-96D6-AB3BB89097FE}"/>
    </a:ext>
  </a:extLst>
</a:theme>
</file>

<file path=ppt/theme/theme1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4.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3.xml><?xml version="1.0" encoding="utf-8"?>
<a:theme xmlns:a="http://schemas.openxmlformats.org/drawingml/2006/main" name="3_2013_16x9 Catapult Corporate PPT Template_final">
  <a:themeElements>
    <a:clrScheme name="CAT2013 2">
      <a:dk1>
        <a:sysClr val="windowText" lastClr="000000"/>
      </a:dk1>
      <a:lt1>
        <a:sysClr val="window" lastClr="FFFFFF"/>
      </a:lt1>
      <a:dk2>
        <a:srgbClr val="026C64"/>
      </a:dk2>
      <a:lt2>
        <a:srgbClr val="FDB913"/>
      </a:lt2>
      <a:accent1>
        <a:srgbClr val="C32032"/>
      </a:accent1>
      <a:accent2>
        <a:srgbClr val="175275"/>
      </a:accent2>
      <a:accent3>
        <a:srgbClr val="B9C36B"/>
      </a:accent3>
      <a:accent4>
        <a:srgbClr val="3896CA"/>
      </a:accent4>
      <a:accent5>
        <a:srgbClr val="626DA5"/>
      </a:accent5>
      <a:accent6>
        <a:srgbClr val="30AEA7"/>
      </a:accent6>
      <a:hlink>
        <a:srgbClr val="003ABB"/>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ctr" anchorCtr="0" compatLnSpc="1">
        <a:prstTxWarp prst="textNoShape">
          <a:avLst/>
        </a:prstTxWarp>
      </a:bodyPr>
      <a:lstStyle>
        <a:defPPr>
          <a:defRPr dirty="0" smtClean="0"/>
        </a:defPPr>
      </a:lstStyle>
    </a:txDef>
  </a:objectDefaults>
  <a:extraClrSchemeLst/>
  <a:extLst>
    <a:ext uri="{05A4C25C-085E-4340-85A3-A5531E510DB2}">
      <thm15:themeFamily xmlns:thm15="http://schemas.microsoft.com/office/thememl/2012/main" name="SCU_2016_Modern Management" id="{2FDDC2CC-7C12-4DE5-BD14-7C7C529CE3A6}" vid="{0265F445-947C-4E25-AD6A-955233C627B9}"/>
    </a:ext>
  </a:extLst>
</a:theme>
</file>

<file path=ppt/theme/theme4.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5.xml><?xml version="1.0" encoding="utf-8"?>
<a:theme xmlns:a="http://schemas.openxmlformats.org/drawingml/2006/main" name="Connect_2016_Template_Light">
  <a:themeElements>
    <a:clrScheme name="Custom 5">
      <a:dk1>
        <a:srgbClr val="505050"/>
      </a:dk1>
      <a:lt1>
        <a:srgbClr val="FFFFFF"/>
      </a:lt1>
      <a:dk2>
        <a:srgbClr val="5C2D91"/>
      </a:dk2>
      <a:lt2>
        <a:srgbClr val="FFFFFF"/>
      </a:lt2>
      <a:accent1>
        <a:srgbClr val="5C2D91"/>
      </a:accent1>
      <a:accent2>
        <a:srgbClr val="0078D7"/>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6.xml><?xml version="1.0" encoding="utf-8"?>
<a:theme xmlns:a="http://schemas.openxmlformats.org/drawingml/2006/main" name="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7C70E2A4-8980-409D-AC1F-E29167836A69}"/>
    </a:ext>
  </a:extLst>
</a:theme>
</file>

<file path=ppt/theme/theme7.xml><?xml version="1.0" encoding="utf-8"?>
<a:theme xmlns:a="http://schemas.openxmlformats.org/drawingml/2006/main" name="1_Connect_2016_Template_Light">
  <a:themeElements>
    <a:clrScheme name="Custom 5">
      <a:dk1>
        <a:srgbClr val="505050"/>
      </a:dk1>
      <a:lt1>
        <a:srgbClr val="FFFFFF"/>
      </a:lt1>
      <a:dk2>
        <a:srgbClr val="5C2D91"/>
      </a:dk2>
      <a:lt2>
        <a:srgbClr val="FFFFFF"/>
      </a:lt2>
      <a:accent1>
        <a:srgbClr val="5C2D91"/>
      </a:accent1>
      <a:accent2>
        <a:srgbClr val="0078D7"/>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8.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9.xml><?xml version="1.0" encoding="utf-8"?>
<a:theme xmlns:a="http://schemas.openxmlformats.org/drawingml/2006/main" name="3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Override1.xml><?xml version="1.0" encoding="utf-8"?>
<a:themeOverride xmlns:a="http://schemas.openxmlformats.org/drawingml/2006/main">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themeOverride>
</file>

<file path=ppt/theme/themeOverride2.xml><?xml version="1.0" encoding="utf-8"?>
<a:themeOverride xmlns:a="http://schemas.openxmlformats.org/drawingml/2006/main">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Use this deck to present the value proposition of Azure Application Insight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Praveen Rajasekar</DisplayName>
        <AccountId>13051</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Developer Platform and Tools Marketing</TermName>
          <TermId xmlns="http://schemas.microsoft.com/office/infopath/2007/PartnerControls">b117718f-aa6c-411f-b6a8-3da180b0b2c7</TermId>
        </TermInfo>
        <TermInfo xmlns="http://schemas.microsoft.com/office/infopath/2007/PartnerControls">
          <TermName xmlns="http://schemas.microsoft.com/office/infopath/2007/PartnerControls">Windows Server and Management Marketing</TermName>
          <TermId xmlns="http://schemas.microsoft.com/office/infopath/2007/PartnerControls">ec7aef82-469a-47dc-9ac7-2821a36193b3</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ompete Domain</TermName>
          <TermId xmlns="http://schemas.microsoft.com/office/infopath/2007/PartnerControls">b64df03d-ac6e-47e3-a629-66762ad81f36</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Developer Tools Domain</TermName>
          <TermId xmlns="http://schemas.microsoft.com/office/infopath/2007/PartnerControls">58c4098f-5b04-404d-a0e5-4dc5be632145</TermId>
        </TermInfo>
        <TermInfo xmlns="http://schemas.microsoft.com/office/infopath/2007/PartnerControls">
          <TermName xmlns="http://schemas.microsoft.com/office/infopath/2007/PartnerControls">Office Product Group</TermName>
          <TermId xmlns="http://schemas.microsoft.com/office/infopath/2007/PartnerControls">d4eaf1d1-28c0-4660-8a16-39949e80d255</TermId>
        </TermInfo>
        <TermInfo xmlns="http://schemas.microsoft.com/office/infopath/2007/PartnerControls">
          <TermName xmlns="http://schemas.microsoft.com/office/infopath/2007/PartnerControls">System Center Domain</TermName>
          <TermId xmlns="http://schemas.microsoft.com/office/infopath/2007/PartnerControls">3ddc6c25-74dc-48ec-8d94-8e1db2b2f9f8</TermId>
        </TermInfo>
      </Terms>
    </eb54ac91059940029a3cc8a4ff5af673>
    <PublishingPageContent xmlns="http://schemas.microsoft.com/sharepoint/v3" xsi:nil="true"/>
    <ContentID xmlns="230e9df3-be65-4c73-a93b-d1236ebd677e" xsi:nil="true"/>
    <Coowner xmlns="230e9df3-be65-4c73-a93b-d1236ebd677e">
      <UserInfo>
        <DisplayName>i:0#.f|membership|v-asstal@microsoft.com</DisplayName>
        <AccountId>576</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Visual Studio</TermName>
          <TermId xmlns="http://schemas.microsoft.com/office/infopath/2007/PartnerControls">bf0ebdd7-5d74-479a-b01e-d7b141200243</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software development tools</TermName>
          <TermId xmlns="http://schemas.microsoft.com/office/infopath/2007/PartnerControls">24853bda-fb66-4716-8bc8-88d26fdb57cb</TermId>
        </TermInfo>
        <TermInfo xmlns="http://schemas.microsoft.com/office/infopath/2007/PartnerControls">
          <TermName xmlns="http://schemas.microsoft.com/office/infopath/2007/PartnerControls">Application Insights</TermName>
          <TermId xmlns="http://schemas.microsoft.com/office/infopath/2007/PartnerControls">05b0f470-c98a-42c4-aa8e-33dda6cfeb2f</TermId>
        </TermInfo>
        <TermInfo xmlns="http://schemas.microsoft.com/office/infopath/2007/PartnerControls">
          <TermName xmlns="http://schemas.microsoft.com/office/infopath/2007/PartnerControls">Microsoft System Center</TermName>
          <TermId xmlns="http://schemas.microsoft.com/office/infopath/2007/PartnerControls">8eef0cfe-5421-493a-86c3-6e56c8018e93</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46</Value>
      <Value>31</Value>
      <Value>1657</Value>
      <Value>92</Value>
      <Value>26</Value>
      <Value>284</Value>
      <Value>1466</Value>
      <Value>280</Value>
      <Value>20</Value>
      <Value>21</Value>
      <Value>16</Value>
      <Value>348</Value>
      <Value>14</Value>
      <Value>346</Value>
      <Value>345</Value>
      <Value>42</Value>
      <Value>131</Value>
      <Value>1774</Value>
      <Value>185</Value>
    </TaxCatchAll>
    <ParentID1 xmlns="230e9df3-be65-4c73-a93b-d1236ebd677e">G01KC-1-14389</ParentID1>
    <mb88723863e1404388ba3733387d48df xmlns="230e9df3-be65-4c73-a93b-d1236ebd677e">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products</TermName>
          <TermId xmlns="http://schemas.microsoft.com/office/infopath/2007/PartnerControls">2b247c5b-99da-46bc-8667-e75c62241e78</TermId>
        </TermInfo>
      </Terms>
    </m6c7b4717b6346e6a075a59dd47eac69>
    <_dlc_DocId xmlns="230e9df3-be65-4c73-a93b-d1236ebd677e">G01KC-99682991-28038</_dlc_DocId>
    <_dlc_DocIdUrl xmlns="230e9df3-be65-4c73-a93b-d1236ebd677e">
      <Url>https://microsoft.sharepoint.com/sites/Infopedia_G01KC/_layouts/15/DocIdRedir.aspx?ID=G01KC-99682991-28038</Url>
      <Description>G01KC-99682991-28038</Description>
    </_dlc_DocIdUrl>
    <Expire_x0020_Review xmlns="230e9df3-be65-4c73-a93b-d1236ebd677e">2018-12-31T08:00:00+00:00</Expire_x0020_Review>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d0b359e130dd8a3885c43c3aeee692f9">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03dcb4573bca23c32ad2a690d2c8ed49"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7D085A-2362-490E-AA8E-41770B9F7D77}">
  <ds:schemaRefs>
    <ds:schemaRef ds:uri="http://purl.org/dc/dcmitype/"/>
    <ds:schemaRef ds:uri="http://purl.org/dc/elements/1.1/"/>
    <ds:schemaRef ds:uri="http://schemas.openxmlformats.org/package/2006/metadata/core-properties"/>
    <ds:schemaRef ds:uri="http://schemas.microsoft.com/office/2006/metadata/properties"/>
    <ds:schemaRef ds:uri="http://schemas.microsoft.com/sharepoint/v3"/>
    <ds:schemaRef ds:uri="http://schemas.microsoft.com/office/infopath/2007/PartnerControls"/>
    <ds:schemaRef ds:uri="http://purl.org/dc/terms/"/>
    <ds:schemaRef ds:uri="http://schemas.microsoft.com/office/2006/documentManagement/types"/>
    <ds:schemaRef ds:uri="b3bc04a5-d503-43b1-b98c-a8cf663329d9"/>
    <ds:schemaRef ds:uri="230E9DF3-BE65-4C73-A93B-D1236EBD677E"/>
    <ds:schemaRef ds:uri="230e9df3-be65-4c73-a93b-d1236ebd677e"/>
    <ds:schemaRef ds:uri="http://www.w3.org/XML/1998/namespace"/>
  </ds:schemaRefs>
</ds:datastoreItem>
</file>

<file path=customXml/itemProps2.xml><?xml version="1.0" encoding="utf-8"?>
<ds:datastoreItem xmlns:ds="http://schemas.openxmlformats.org/officeDocument/2006/customXml" ds:itemID="{264FD174-D13A-46FD-BD22-C50480E8AB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E73F53-D048-4E33-ACD9-51F981EDAC6F}">
  <ds:schemaRefs>
    <ds:schemaRef ds:uri="http://schemas.microsoft.com/sharepoint/events"/>
  </ds:schemaRefs>
</ds:datastoreItem>
</file>

<file path=customXml/itemProps4.xml><?xml version="1.0" encoding="utf-8"?>
<ds:datastoreItem xmlns:ds="http://schemas.openxmlformats.org/officeDocument/2006/customXml" ds:itemID="{421C48F8-D4D7-4176-A779-6E9048D2B9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9</TotalTime>
  <Words>1410</Words>
  <Application>Microsoft Office PowerPoint</Application>
  <PresentationFormat>Widescreen</PresentationFormat>
  <Paragraphs>201</Paragraphs>
  <Slides>15</Slides>
  <Notes>15</Notes>
  <HiddenSlides>0</HiddenSlides>
  <MMClips>0</MMClips>
  <ScaleCrop>false</ScaleCrop>
  <HeadingPairs>
    <vt:vector size="8" baseType="variant">
      <vt:variant>
        <vt:lpstr>Fonts Used</vt:lpstr>
      </vt:variant>
      <vt:variant>
        <vt:i4>13</vt:i4>
      </vt:variant>
      <vt:variant>
        <vt:lpstr>Theme</vt:lpstr>
      </vt:variant>
      <vt:variant>
        <vt:i4>14</vt:i4>
      </vt:variant>
      <vt:variant>
        <vt:lpstr>Embedded OLE Servers</vt:lpstr>
      </vt:variant>
      <vt:variant>
        <vt:i4>1</vt:i4>
      </vt:variant>
      <vt:variant>
        <vt:lpstr>Slide Titles</vt:lpstr>
      </vt:variant>
      <vt:variant>
        <vt:i4>15</vt:i4>
      </vt:variant>
    </vt:vector>
  </HeadingPairs>
  <TitlesOfParts>
    <vt:vector size="43" baseType="lpstr">
      <vt:lpstr>ＭＳ Ｐゴシック</vt:lpstr>
      <vt:lpstr>Arial</vt:lpstr>
      <vt:lpstr>Calibri</vt:lpstr>
      <vt:lpstr>Calibri Light</vt:lpstr>
      <vt:lpstr>Consolas</vt:lpstr>
      <vt:lpstr>Segoe Light</vt:lpstr>
      <vt:lpstr>Segoe UI</vt:lpstr>
      <vt:lpstr>Segoe UI (Body)</vt:lpstr>
      <vt:lpstr>Segoe UI Light</vt:lpstr>
      <vt:lpstr>Segoe UI Semibold</vt:lpstr>
      <vt:lpstr>Segoe UI Semilight</vt:lpstr>
      <vt:lpstr>Segoe UI Symbol</vt:lpstr>
      <vt:lpstr>Wingdings</vt:lpstr>
      <vt:lpstr>5-50111_Build 2017_LIGHT GRAY TEMPLATE</vt:lpstr>
      <vt:lpstr>2_COLOR TEMPLATE</vt:lpstr>
      <vt:lpstr>3_2013_16x9 Catapult Corporate PPT Template_final</vt:lpstr>
      <vt:lpstr>5-50091_TR24_BO_CT_Template</vt:lpstr>
      <vt:lpstr>Connect_2016_Template_Light</vt:lpstr>
      <vt:lpstr>5-50111_Build 2017_DARK GRAY TEMPLATE</vt:lpstr>
      <vt:lpstr>1_Connect_2016_Template_Light</vt:lpstr>
      <vt:lpstr>BUILD CHARCOAL BACKGROUND</vt:lpstr>
      <vt:lpstr>3_6-30537_Envision 2016 Keynote Template</vt:lpstr>
      <vt:lpstr>1_MS1444_Windows Azure Template 16x9_r08a</vt:lpstr>
      <vt:lpstr>5-50109_Microsoft_Light_Template</vt:lpstr>
      <vt:lpstr>Office Theme</vt:lpstr>
      <vt:lpstr>5-50113_Microsoft_Ready_Light_Template</vt:lpstr>
      <vt:lpstr>WHITE TEMPLATE</vt:lpstr>
      <vt:lpstr>think-cell Slide</vt:lpstr>
      <vt:lpstr>PowerPoint Presentation</vt:lpstr>
      <vt:lpstr>PowerPoint Presentation</vt:lpstr>
      <vt:lpstr>Containers</vt:lpstr>
      <vt:lpstr>Why Containers?</vt:lpstr>
      <vt:lpstr>Microsoft &amp; Containers– better together</vt:lpstr>
      <vt:lpstr>Microsoft Azure Support for containers</vt:lpstr>
      <vt:lpstr>Docker</vt:lpstr>
      <vt:lpstr>Azure Container Service</vt:lpstr>
      <vt:lpstr>PowerPoint Presentation</vt:lpstr>
      <vt:lpstr>Exercise 3 - Containers and Azure App Service</vt:lpstr>
      <vt:lpstr>Web App comes to Linux (container support)</vt:lpstr>
      <vt:lpstr>Deployment Life Cycle </vt:lpstr>
      <vt:lpstr>Managed Kubernetes (Preview)</vt:lpstr>
      <vt:lpstr>Managed Kubernetes: Overview</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pplication Insights Overview</dc:title>
  <dc:creator>Rahul Bagaria</dc:creator>
  <cp:lastModifiedBy>Shimail Gillani</cp:lastModifiedBy>
  <cp:revision>2</cp:revision>
  <dcterms:created xsi:type="dcterms:W3CDTF">2017-04-07T22:11:54Z</dcterms:created>
  <dcterms:modified xsi:type="dcterms:W3CDTF">2018-02-06T04:3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praraj@microsoft.com</vt:lpwstr>
  </property>
  <property fmtid="{D5CDD505-2E9C-101B-9397-08002B2CF9AE}" pid="7" name="MSIP_Label_f42aa342-8706-4288-bd11-ebb85995028c_SetDate">
    <vt:lpwstr>2017-06-20T12:39:32.4772676-07: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_dlc_policyId">
    <vt:lpwstr/>
  </property>
  <property fmtid="{D5CDD505-2E9C-101B-9397-08002B2CF9AE}" pid="13" name="ItemRetentionFormula">
    <vt:lpwstr/>
  </property>
  <property fmtid="{D5CDD505-2E9C-101B-9397-08002B2CF9AE}" pid="14" name="_dlc_DocIdItemGuid">
    <vt:lpwstr>b094e82e-d3f7-439d-bd78-eecf5fadd3e2</vt:lpwstr>
  </property>
  <property fmtid="{D5CDD505-2E9C-101B-9397-08002B2CF9AE}" pid="15" name="of67e5d4b76f4a9db8769983fda9cec0">
    <vt:lpwstr/>
  </property>
  <property fmtid="{D5CDD505-2E9C-101B-9397-08002B2CF9AE}" pid="16" name="TaxKeyword">
    <vt:lpwstr/>
  </property>
  <property fmtid="{D5CDD505-2E9C-101B-9397-08002B2CF9AE}" pid="17" name="NewsType">
    <vt:lpwstr/>
  </property>
  <property fmtid="{D5CDD505-2E9C-101B-9397-08002B2CF9AE}" pid="18" name="Region">
    <vt:lpwstr/>
  </property>
  <property fmtid="{D5CDD505-2E9C-101B-9397-08002B2CF9AE}" pid="19" name="ItemType">
    <vt:lpwstr>16;#customer presentations|18e9ae94-e321-4eea-82d2-ad5b2f470f3c</vt:lpwstr>
  </property>
  <property fmtid="{D5CDD505-2E9C-101B-9397-08002B2CF9AE}" pid="20" name="Confidentiality">
    <vt:lpwstr>14;#customer ready|8986c41d-21c5-4f8f-8a12-ea4625b46858</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185;#Compete Domain|b64df03d-ac6e-47e3-a629-66762ad81f36;#20;#Microsoft Azure Domain|d600a391-d529-4311-892b-2c05c1ab2538;#21;#Cloud and Enterprise|adc2fe87-c79a-4ded-a449-3f86b954069d;#345;#Developer Tools Domain|58c4098f-5b04-404d-a0e5-4dc5be632145;#165</vt:lpwstr>
  </property>
  <property fmtid="{D5CDD505-2E9C-101B-9397-08002B2CF9AE}" pid="25" name="ExperienceContentType">
    <vt:lpwstr/>
  </property>
  <property fmtid="{D5CDD505-2E9C-101B-9397-08002B2CF9AE}" pid="26" name="BusinessArchitecture">
    <vt:lpwstr/>
  </property>
  <property fmtid="{D5CDD505-2E9C-101B-9397-08002B2CF9AE}" pid="27" name="Products">
    <vt:lpwstr>146;#Visual Studio|bf0ebdd7-5d74-479a-b01e-d7b141200243;#26;#Microsoft Azure|669a3112-5edf-444b-a003-630063601f07;#346;#software development tools|24853bda-fb66-4716-8bc8-88d26fdb57cb;#1774;#Application Insights|05b0f470-c98a-42c4-aa8e-33dda6cfeb2f;#92;#M</vt:lpwstr>
  </property>
  <property fmtid="{D5CDD505-2E9C-101B-9397-08002B2CF9AE}" pid="28" name="EnterpriseDomainTags">
    <vt:lpwstr/>
  </property>
  <property fmtid="{D5CDD505-2E9C-101B-9397-08002B2CF9AE}" pid="29" name="j3562c58ee414e028925bc902cfc01a1">
    <vt:lpwstr/>
  </property>
  <property fmtid="{D5CDD505-2E9C-101B-9397-08002B2CF9AE}" pid="30" name="Segments">
    <vt:lpwstr/>
  </property>
  <property fmtid="{D5CDD505-2E9C-101B-9397-08002B2CF9AE}" pid="31" name="Partners">
    <vt:lpwstr/>
  </property>
  <property fmtid="{D5CDD505-2E9C-101B-9397-08002B2CF9AE}" pid="32" name="ActivitiesAndPrograms">
    <vt:lpwstr/>
  </property>
  <property fmtid="{D5CDD505-2E9C-101B-9397-08002B2CF9AE}" pid="33" name="l6f004f21209409da86a713c0f24627d">
    <vt:lpwstr/>
  </property>
  <property fmtid="{D5CDD505-2E9C-101B-9397-08002B2CF9AE}" pid="34" name="la4444b61d19467597d63190b69ac227">
    <vt:lpwstr/>
  </property>
  <property fmtid="{D5CDD505-2E9C-101B-9397-08002B2CF9AE}" pid="35" name="Topics">
    <vt:lpwstr>131;#products|2b247c5b-99da-46bc-8667-e75c62241e78</vt:lpwstr>
  </property>
  <property fmtid="{D5CDD505-2E9C-101B-9397-08002B2CF9AE}" pid="36" name="Groups">
    <vt:lpwstr>31;#Microsoft Azure Marketing|0958c357-5252-473f-8b4e-42f27525a99d;#42;#Cloud and Enterprise Marketing Group|4f75e184-e5aa-4234-a07f-b032d60df254;#348;#Developer Platform and Tools Marketing|b117718f-aa6c-411f-b6a8-3da180b0b2c7;#284;#Windows Server and Ma</vt:lpwstr>
  </property>
  <property fmtid="{D5CDD505-2E9C-101B-9397-08002B2CF9AE}" pid="37" name="MSProductsTaxHTField0">
    <vt:lpwstr/>
  </property>
  <property fmtid="{D5CDD505-2E9C-101B-9397-08002B2CF9AE}" pid="38" name="Languages">
    <vt:lpwstr/>
  </property>
  <property fmtid="{D5CDD505-2E9C-101B-9397-08002B2CF9AE}" pid="39" name="e8080b0481964c759b2c36ae49591b31">
    <vt:lpwstr/>
  </property>
  <property fmtid="{D5CDD505-2E9C-101B-9397-08002B2CF9AE}" pid="40" name="TechnicalLevel">
    <vt:lpwstr/>
  </property>
  <property fmtid="{D5CDD505-2E9C-101B-9397-08002B2CF9AE}" pid="41" name="Audiences">
    <vt:lpwstr>1466;#developers|8e4a08dc-5d95-4156-ab65-f22579a1592a</vt:lpwstr>
  </property>
  <property fmtid="{D5CDD505-2E9C-101B-9397-08002B2CF9AE}" pid="42" name="ldac8aee9d1f469e8cd8c3f8d6a615f2">
    <vt:lpwstr/>
  </property>
  <property fmtid="{D5CDD505-2E9C-101B-9397-08002B2CF9AE}" pid="43" name="EmployeeRole">
    <vt:lpwstr/>
  </property>
  <property fmtid="{D5CDD505-2E9C-101B-9397-08002B2CF9AE}" pid="44" name="NewsTopic">
    <vt:lpwstr/>
  </property>
  <property fmtid="{D5CDD505-2E9C-101B-9397-08002B2CF9AE}" pid="45" name="Roles">
    <vt:lpwstr/>
  </property>
  <property fmtid="{D5CDD505-2E9C-101B-9397-08002B2CF9AE}" pid="46" name="NewsSource">
    <vt:lpwstr/>
  </property>
  <property fmtid="{D5CDD505-2E9C-101B-9397-08002B2CF9AE}" pid="47" name="SMSGTags">
    <vt:lpwstr/>
  </property>
  <property fmtid="{D5CDD505-2E9C-101B-9397-08002B2CF9AE}" pid="48" name="MSPhysicalGeography">
    <vt:lpwstr/>
  </property>
  <property fmtid="{D5CDD505-2E9C-101B-9397-08002B2CF9AE}" pid="49" name="_docset_NoMedatataSyncRequired">
    <vt:lpwstr>False</vt:lpwstr>
  </property>
  <property fmtid="{D5CDD505-2E9C-101B-9397-08002B2CF9AE}" pid="50" name="LastSharedByUser">
    <vt:lpwstr>v-hazeme@microsoft.com</vt:lpwstr>
  </property>
  <property fmtid="{D5CDD505-2E9C-101B-9397-08002B2CF9AE}" pid="51" name="LastSharedByTime">
    <vt:filetime>2017-11-27T12:50:31Z</vt:filetime>
  </property>
  <property fmtid="{D5CDD505-2E9C-101B-9397-08002B2CF9AE}" pid="52" name="SharedWithUsers">
    <vt:lpwstr>31378;#Tugdual de Quénetain;#138753;#Stephen Ebichondo (Insight Management Consultants)</vt:lpwstr>
  </property>
</Properties>
</file>